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media/image5.jpg" ContentType="image/jpeg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media/image16.jpg" ContentType="image/jpeg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8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9.xml" ContentType="application/vnd.openxmlformats-officedocument.theme+xml"/>
  <Override PartName="/ppt/media/image37.jpg" ContentType="image/jpeg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1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2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3.xml" ContentType="application/vnd.openxmlformats-officedocument.theme+xml"/>
  <Override PartName="/ppt/media/image46.jpg" ContentType="image/jpeg"/>
  <Override PartName="/ppt/media/image47.jpg" ContentType="image/jpeg"/>
  <Override PartName="/ppt/slideLayouts/slideLayout118.xml" ContentType="application/vnd.openxmlformats-officedocument.presentationml.slideLayout+xml"/>
  <Override PartName="/ppt/theme/theme14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6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  <p:sldMasterId id="2147483733" r:id="rId2"/>
    <p:sldMasterId id="2147483743" r:id="rId3"/>
    <p:sldMasterId id="2147483835" r:id="rId4"/>
    <p:sldMasterId id="2147483910" r:id="rId5"/>
    <p:sldMasterId id="2147483967" r:id="rId6"/>
    <p:sldMasterId id="2147483985" r:id="rId7"/>
    <p:sldMasterId id="2147483999" r:id="rId8"/>
    <p:sldMasterId id="2147484051" r:id="rId9"/>
    <p:sldMasterId id="2147484067" r:id="rId10"/>
    <p:sldMasterId id="2147484075" r:id="rId11"/>
    <p:sldMasterId id="2147484092" r:id="rId12"/>
    <p:sldMasterId id="2147484102" r:id="rId13"/>
    <p:sldMasterId id="2147484109" r:id="rId14"/>
    <p:sldMasterId id="2147484111" r:id="rId15"/>
    <p:sldMasterId id="2147484114" r:id="rId16"/>
    <p:sldMasterId id="2147484118" r:id="rId17"/>
  </p:sldMasterIdLst>
  <p:notesMasterIdLst>
    <p:notesMasterId r:id="rId20"/>
  </p:notesMasterIdLst>
  <p:handoutMasterIdLst>
    <p:handoutMasterId r:id="rId21"/>
  </p:handoutMasterIdLst>
  <p:sldIdLst>
    <p:sldId id="7977" r:id="rId18"/>
    <p:sldId id="7978" r:id="rId19"/>
  </p:sldIdLst>
  <p:sldSz cx="12192000" cy="6858000"/>
  <p:notesSz cx="6858000" cy="9144000"/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7985A06-B0C8-2514-6840-BF396B0FD8EA}" name="Tobias Beckhölter" initials="TB" userId="o4CnJpnAj0m1shYrpaLz1YiYnBgxIFU/f+mx71BbgJw=" providerId="None"/>
  <p188:author id="{E542840D-D975-8EF0-3572-BB511D801AF1}" name="schmidmat" initials="s" userId="schmidmat" providerId="None"/>
  <p188:author id="{731BF510-E2FA-EBC8-36C5-B0CCC1C285BE}" name="Richarz, Jan" initials="RJ" userId="Richarz, Jan" providerId="None"/>
  <p188:author id="{07869228-1593-793E-6D56-C1AE0F442BBD}" name="Kyra Böhme" initials="KB" userId="27al0QzjEq3eA15tdz6YVxcJdruiS71X2atMWRI/ejg=" providerId="None"/>
  <p188:author id="{D18A2430-5B73-07A9-E601-215AF339D7D8}" name="Sonja Witkowski" initials="SW" userId="nl+YtA7PcwGaOXiPVePdT0vP7sRBz0PSMVoU0GXWQv8=" providerId="None"/>
  <p188:author id="{1466C938-73E5-F72D-69C4-F932048091FC}" name="Rita Streblow" initials="RS" userId="MQ1fw5lvUKYMQ/2Al/LGG6yNiB2p6eQTg+OkS9wSwh4=" providerId="None"/>
  <p188:author id="{79076064-261D-24B3-5DD4-4B30B2EA66A8}" name="Berit Müller" initials="BM" userId="S::bm@dgs-berlin.de::9af5fa3a-5e3c-4678-84e3-73f4504888e7" providerId="AD"/>
  <p188:author id="{EA8941C1-2885-A82C-0993-3767F933A29C}" name="Berit Müller" initials="BM" userId="FWr1lbYwMSqjdIH+cYRtkLV/GTQJZXO/OcJD0BYjXEE=" providerId="None"/>
  <p188:author id="{02CDFCDD-1781-B00D-2D44-48652A18FEE8}" name="Felix Rehmann" initials="FR" userId="3P2mCk0Ru9krFcqjseHGW/JFCom8zzySoRdiK/lKG1w=" providerId="None"/>
  <p188:author id="{D54A63DE-0330-8872-4DA1-47FFF0A66F95}" name="Florian Noll" initials="FN" userId="ZKFXY0r9pZNtCotq0d6gd7AsRZCsTBs2AagKQBKuz+o=" providerId="None"/>
  <p188:author id="{3AF0F2F1-188D-612D-2B3C-F20F22FB6028}" name="Michele Bube" initials="MB" userId="6nDd5xE4Tp9zyTEKwsBHyebsxzWN1CuGf/gUf735VIM=" providerId="None"/>
  <p188:author id="{DD8B0CF2-EC52-EB52-EB3D-7F9839B3AC1E}" name="Julia Sollik" initials="JS" userId="rDG5942fKCPeezLfhgEPdaXjMGYJ/Z0/Yteb9PRkquc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onja Witkowski" initials="SW" lastIdx="1" clrIdx="6">
    <p:extLst>
      <p:ext uri="{19B8F6BF-5375-455C-9EA6-DF929625EA0E}">
        <p15:presenceInfo xmlns:p15="http://schemas.microsoft.com/office/powerpoint/2012/main" userId="nl+YtA7PcwGaOXiPVePdT0vP7sRBz0PSMVoU0GXWQv8=" providerId="None"/>
      </p:ext>
    </p:extLst>
  </p:cmAuthor>
  <p:cmAuthor id="1" name="Streblow, Rita" initials="RST" lastIdx="7" clrIdx="0">
    <p:extLst>
      <p:ext uri="{19B8F6BF-5375-455C-9EA6-DF929625EA0E}">
        <p15:presenceInfo xmlns:p15="http://schemas.microsoft.com/office/powerpoint/2012/main" userId="Streblow, Rita" providerId="None"/>
      </p:ext>
    </p:extLst>
  </p:cmAuthor>
  <p:cmAuthor id="2" name="Berit Müller" initials="BM" lastIdx="9" clrIdx="1">
    <p:extLst>
      <p:ext uri="{19B8F6BF-5375-455C-9EA6-DF929625EA0E}">
        <p15:presenceInfo xmlns:p15="http://schemas.microsoft.com/office/powerpoint/2012/main" userId="FWr1lbYwMSqjdIH+cYRtkLV/GTQJZXO/OcJD0BYjXEE=" providerId="None"/>
      </p:ext>
    </p:extLst>
  </p:cmAuthor>
  <p:cmAuthor id="3" name="Richarz, Jan" initials="RJ" lastIdx="9" clrIdx="2">
    <p:extLst>
      <p:ext uri="{19B8F6BF-5375-455C-9EA6-DF929625EA0E}">
        <p15:presenceInfo xmlns:p15="http://schemas.microsoft.com/office/powerpoint/2012/main" userId="Richarz, Jan" providerId="None"/>
      </p:ext>
    </p:extLst>
  </p:cmAuthor>
  <p:cmAuthor id="4" name="Rita Streblow" initials="RS" lastIdx="4" clrIdx="3">
    <p:extLst>
      <p:ext uri="{19B8F6BF-5375-455C-9EA6-DF929625EA0E}">
        <p15:presenceInfo xmlns:p15="http://schemas.microsoft.com/office/powerpoint/2012/main" userId="MQ1fw5lvUKYMQ/2Al/LGG6yNiB2p6eQTg+OkS9wSwh4=" providerId="None"/>
      </p:ext>
    </p:extLst>
  </p:cmAuthor>
  <p:cmAuthor id="5" name="Julia Sollik" initials="JS" lastIdx="3" clrIdx="4">
    <p:extLst>
      <p:ext uri="{19B8F6BF-5375-455C-9EA6-DF929625EA0E}">
        <p15:presenceInfo xmlns:p15="http://schemas.microsoft.com/office/powerpoint/2012/main" userId="rDG5942fKCPeezLfhgEPdaXjMGYJ/Z0/Yteb9PRkquc=" providerId="None"/>
      </p:ext>
    </p:extLst>
  </p:cmAuthor>
  <p:cmAuthor id="6" name="Florian Noll" initials="FN" lastIdx="4" clrIdx="5">
    <p:extLst>
      <p:ext uri="{19B8F6BF-5375-455C-9EA6-DF929625EA0E}">
        <p15:presenceInfo xmlns:p15="http://schemas.microsoft.com/office/powerpoint/2012/main" userId="ZKFXY0r9pZNtCotq0d6gd7AsRZCsTBs2AagKQBKuz+o=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872C"/>
    <a:srgbClr val="378C3D"/>
    <a:srgbClr val="156A22"/>
    <a:srgbClr val="7AB9D8"/>
    <a:srgbClr val="203F5C"/>
    <a:srgbClr val="7ABAD6"/>
    <a:srgbClr val="85AB21"/>
    <a:srgbClr val="47A80F"/>
    <a:srgbClr val="BDCD00"/>
    <a:srgbClr val="57AB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8D230F3-CF80-4859-8CE7-A43EE81993B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746" autoAdjust="0"/>
    <p:restoredTop sz="64919" autoAdjust="0"/>
  </p:normalViewPr>
  <p:slideViewPr>
    <p:cSldViewPr showGuides="1">
      <p:cViewPr varScale="1">
        <p:scale>
          <a:sx n="42" d="100"/>
          <a:sy n="42" d="100"/>
        </p:scale>
        <p:origin x="1384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F481F3-CE98-7648-8F9B-A15EA4F40C79}" type="datetime1">
              <a:rPr lang="de-DE" smtClean="0"/>
              <a:t>02.09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616ABE-2874-2046-9238-A75591A71F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7457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4F775A-DF39-914D-8593-5789F3EFC9C2}" type="datetime1">
              <a:rPr lang="de-DE" smtClean="0"/>
              <a:t>02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F37B36-256F-44A3-8EB0-0E1FC5470CC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454015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Bitte verwenden Sie max. 2 Folien.</a:t>
            </a:r>
          </a:p>
          <a:p>
            <a:r>
              <a:rPr lang="de-DE" b="1" dirty="0"/>
              <a:t>Im Folienmaster sind noch weitere Folienvarianten zu find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F37B36-256F-44A3-8EB0-0E1FC5470CC3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49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4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44.png"/><Relationship Id="rId4" Type="http://schemas.openxmlformats.org/officeDocument/2006/relationships/image" Target="../media/image7.jpe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4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7.jpeg"/><Relationship Id="rId4" Type="http://schemas.openxmlformats.org/officeDocument/2006/relationships/image" Target="../media/image4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7.jp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jpeg"/><Relationship Id="rId4" Type="http://schemas.openxmlformats.org/officeDocument/2006/relationships/image" Target="../media/image4.png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1.emf"/><Relationship Id="rId5" Type="http://schemas.openxmlformats.org/officeDocument/2006/relationships/image" Target="../media/image24.emf"/><Relationship Id="rId4" Type="http://schemas.openxmlformats.org/officeDocument/2006/relationships/image" Target="../media/image23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3.xml"/><Relationship Id="rId7" Type="http://schemas.openxmlformats.org/officeDocument/2006/relationships/image" Target="../media/image4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43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6.xml"/><Relationship Id="rId7" Type="http://schemas.openxmlformats.org/officeDocument/2006/relationships/image" Target="../media/image4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12.xml"/><Relationship Id="rId7" Type="http://schemas.openxmlformats.org/officeDocument/2006/relationships/image" Target="../media/image41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3" name="Bild 2" descr="HG-Start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36"/>
          <a:stretch/>
        </p:blipFill>
        <p:spPr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5" name="Bild 4" descr="logo-bmwi-jpg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sp>
        <p:nvSpPr>
          <p:cNvPr id="7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9" y="3834994"/>
            <a:ext cx="10562168" cy="745473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>
          <a:xfrm>
            <a:off x="814918" y="2277534"/>
            <a:ext cx="10562169" cy="1341437"/>
          </a:xfrm>
        </p:spPr>
        <p:txBody>
          <a:bodyPr anchor="t"/>
          <a:lstStyle>
            <a:lvl1pPr>
              <a:defRPr sz="5333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1539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080" cy="11444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de-DE" sz="1800" b="0" strike="noStrike" spc="-1">
              <a:solidFill>
                <a:schemeClr val="dk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025787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/Botsch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82FEE42D-833E-FF57-8EB5-E502947A6D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2312" y="2264400"/>
            <a:ext cx="10727375" cy="301557"/>
          </a:xfrm>
        </p:spPr>
        <p:txBody>
          <a:bodyPr anchor="b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D5E52893-BB13-3155-D249-74211C87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12" y="2782800"/>
            <a:ext cx="10727375" cy="1332000"/>
          </a:xfrm>
        </p:spPr>
        <p:txBody>
          <a:bodyPr wrap="square" anchor="t">
            <a:no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934342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059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1838" y="3429000"/>
            <a:ext cx="2016001" cy="2700336"/>
          </a:xfrm>
          <a:solidFill>
            <a:schemeClr val="bg1">
              <a:lumMod val="95000"/>
            </a:schemeClr>
          </a:solidFill>
        </p:spPr>
        <p:txBody>
          <a:bodyPr tIns="7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 Kontaktinfo">
            <a:extLst>
              <a:ext uri="{FF2B5EF4-FFF2-40B4-BE49-F238E27FC236}">
                <a16:creationId xmlns:a16="http://schemas.microsoft.com/office/drawing/2014/main" id="{79DBC7D7-9B08-7103-9B80-F55D8FAF91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51837" y="3983953"/>
            <a:ext cx="8208325" cy="2145385"/>
          </a:xfrm>
        </p:spPr>
        <p:txBody>
          <a:bodyPr/>
          <a:lstStyle>
            <a:lvl1pPr marL="0" indent="0"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/>
              <a:t>Kontaktinformationen hinzufügen</a:t>
            </a:r>
          </a:p>
        </p:txBody>
      </p:sp>
      <p:sp>
        <p:nvSpPr>
          <p:cNvPr id="11" name="Textplatzhalter Name">
            <a:extLst>
              <a:ext uri="{FF2B5EF4-FFF2-40B4-BE49-F238E27FC236}">
                <a16:creationId xmlns:a16="http://schemas.microsoft.com/office/drawing/2014/main" id="{38E1A812-14FC-E4E8-D5A1-93BFB54583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1837" y="3443852"/>
            <a:ext cx="8208325" cy="432000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b="1">
                <a:solidFill>
                  <a:schemeClr val="accent1"/>
                </a:solidFill>
                <a:latin typeface="+mj-lt"/>
              </a:defRPr>
            </a:lvl2pPr>
            <a:lvl3pPr marL="360000" indent="0">
              <a:buNone/>
              <a:defRPr b="1">
                <a:solidFill>
                  <a:schemeClr val="accent1"/>
                </a:solidFill>
                <a:latin typeface="+mj-lt"/>
              </a:defRPr>
            </a:lvl3pPr>
            <a:lvl4pPr marL="540000" indent="0">
              <a:buNone/>
              <a:defRPr b="1">
                <a:solidFill>
                  <a:schemeClr val="accent1"/>
                </a:solidFill>
                <a:latin typeface="+mj-lt"/>
              </a:defRPr>
            </a:lvl4pPr>
            <a:lvl5pPr marL="720000" indent="0">
              <a:buNone/>
              <a:defRPr b="1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80F10639-BDE2-6493-7F2A-DEFAC62940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5FC51EC2-0C89-0123-C537-521ED6AD6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8843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5" y="354303"/>
            <a:ext cx="2284800" cy="1190807"/>
          </a:xfrm>
          <a:prstGeom prst="rect">
            <a:avLst/>
          </a:prstGeom>
        </p:spPr>
      </p:pic>
      <p:pic>
        <p:nvPicPr>
          <p:cNvPr id="3" name="Bild 2" descr="HG-Start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36"/>
          <a:stretch/>
        </p:blipFill>
        <p:spPr>
          <a:xfrm>
            <a:off x="0" y="1800229"/>
            <a:ext cx="12192000" cy="4341059"/>
          </a:xfrm>
          <a:prstGeom prst="rect">
            <a:avLst/>
          </a:prstGeom>
        </p:spPr>
      </p:pic>
      <p:sp>
        <p:nvSpPr>
          <p:cNvPr id="7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9" y="3834998"/>
            <a:ext cx="10562168" cy="745473"/>
          </a:xfrm>
        </p:spPr>
        <p:txBody>
          <a:bodyPr/>
          <a:lstStyle>
            <a:lvl1pPr marL="0" marR="0" indent="0" algn="l" defTabSz="1032310" rtl="0" eaLnBrk="1" fontAlgn="auto" latinLnBrk="0" hangingPunct="1">
              <a:lnSpc>
                <a:spcPts val="2710"/>
              </a:lnSpc>
              <a:spcBef>
                <a:spcPts val="1129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032310" rtl="0" eaLnBrk="1" fontAlgn="auto" latinLnBrk="0" hangingPunct="1">
              <a:lnSpc>
                <a:spcPts val="2710"/>
              </a:lnSpc>
              <a:spcBef>
                <a:spcPts val="1129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 hasCustomPrompt="1"/>
          </p:nvPr>
        </p:nvSpPr>
        <p:spPr>
          <a:xfrm>
            <a:off x="814920" y="2277538"/>
            <a:ext cx="10562169" cy="1341437"/>
          </a:xfrm>
        </p:spPr>
        <p:txBody>
          <a:bodyPr anchor="t"/>
          <a:lstStyle>
            <a:lvl1pPr>
              <a:defRPr sz="4515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91" y="72225"/>
            <a:ext cx="1678633" cy="17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797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2" descr="HG-Star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27"/>
          <a:stretch/>
        </p:blipFill>
        <p:spPr>
          <a:xfrm>
            <a:off x="0" y="3428999"/>
            <a:ext cx="12192000" cy="271228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5" y="354303"/>
            <a:ext cx="2284800" cy="1190807"/>
          </a:xfrm>
          <a:prstGeom prst="rect">
            <a:avLst/>
          </a:prstGeom>
        </p:spPr>
      </p:pic>
      <p:pic>
        <p:nvPicPr>
          <p:cNvPr id="2" name="Bild 1" descr="ThinkstockPhotos-534411144.jp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42" b="63758"/>
          <a:stretch/>
        </p:blipFill>
        <p:spPr>
          <a:xfrm>
            <a:off x="0" y="1791797"/>
            <a:ext cx="12192000" cy="1637204"/>
          </a:xfrm>
          <a:prstGeom prst="rect">
            <a:avLst/>
          </a:prstGeom>
        </p:spPr>
      </p:pic>
      <p:sp>
        <p:nvSpPr>
          <p:cNvPr id="11" name="Titel 2"/>
          <p:cNvSpPr>
            <a:spLocks noGrp="1"/>
          </p:cNvSpPr>
          <p:nvPr>
            <p:ph type="title" hasCustomPrompt="1"/>
          </p:nvPr>
        </p:nvSpPr>
        <p:spPr>
          <a:xfrm>
            <a:off x="814919" y="3573020"/>
            <a:ext cx="10562167" cy="1200133"/>
          </a:xfrm>
        </p:spPr>
        <p:txBody>
          <a:bodyPr anchor="t"/>
          <a:lstStyle>
            <a:lvl1pPr>
              <a:defRPr sz="3613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2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9" y="5061181"/>
            <a:ext cx="10850033" cy="48025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extformat bearbeiten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91" y="72225"/>
            <a:ext cx="1678633" cy="17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43749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311118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8"/>
            <a:ext cx="11137900" cy="4512733"/>
          </a:xfrm>
        </p:spPr>
        <p:txBody>
          <a:bodyPr/>
          <a:lstStyle>
            <a:lvl1pPr marL="0" indent="0">
              <a:lnSpc>
                <a:spcPts val="2710"/>
              </a:lnSpc>
              <a:spcBef>
                <a:spcPts val="677"/>
              </a:spcBef>
              <a:buFont typeface="Wingdings" panose="05000000000000000000" pitchFamily="2" charset="2"/>
              <a:buNone/>
              <a:defRPr sz="2032"/>
            </a:lvl1pPr>
            <a:lvl2pPr marL="206104" indent="-206104">
              <a:lnSpc>
                <a:spcPts val="2710"/>
              </a:lnSpc>
              <a:spcBef>
                <a:spcPts val="677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032"/>
            </a:lvl2pPr>
            <a:lvl3pPr marL="406831" indent="-202520">
              <a:lnSpc>
                <a:spcPts val="2710"/>
              </a:lnSpc>
              <a:spcBef>
                <a:spcPts val="677"/>
              </a:spcBef>
              <a:buClr>
                <a:srgbClr val="7ABAD6"/>
              </a:buClr>
              <a:defRPr sz="2032"/>
            </a:lvl3pPr>
            <a:lvl4pPr marL="611142" indent="-20431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32"/>
            </a:lvl4pPr>
            <a:lvl5pPr marL="806491" indent="-19535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defRPr sz="2032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40663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2" y="1316568"/>
            <a:ext cx="5376335" cy="4512733"/>
          </a:xfrm>
        </p:spPr>
        <p:txBody>
          <a:bodyPr/>
          <a:lstStyle>
            <a:lvl1pPr marL="0" indent="0">
              <a:lnSpc>
                <a:spcPts val="2710"/>
              </a:lnSpc>
              <a:spcBef>
                <a:spcPts val="677"/>
              </a:spcBef>
              <a:buFont typeface="Wingdings" panose="05000000000000000000" pitchFamily="2" charset="2"/>
              <a:buNone/>
              <a:defRPr sz="2032"/>
            </a:lvl1pPr>
            <a:lvl2pPr marL="206104" indent="-206104">
              <a:lnSpc>
                <a:spcPts val="2710"/>
              </a:lnSpc>
              <a:spcBef>
                <a:spcPts val="677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032"/>
            </a:lvl2pPr>
            <a:lvl3pPr marL="406831" indent="-202520">
              <a:lnSpc>
                <a:spcPts val="2710"/>
              </a:lnSpc>
              <a:spcBef>
                <a:spcPts val="677"/>
              </a:spcBef>
              <a:buClr>
                <a:srgbClr val="7ABAD6"/>
              </a:buClr>
              <a:defRPr sz="2032"/>
            </a:lvl3pPr>
            <a:lvl4pPr marL="611142" indent="-20431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32"/>
            </a:lvl4pPr>
            <a:lvl5pPr marL="806491" indent="-19535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defRPr sz="2032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88618" y="1316568"/>
            <a:ext cx="5376332" cy="4512733"/>
          </a:xfrm>
        </p:spPr>
        <p:txBody>
          <a:bodyPr/>
          <a:lstStyle>
            <a:lvl1pPr marL="0" indent="0">
              <a:lnSpc>
                <a:spcPts val="2710"/>
              </a:lnSpc>
              <a:spcBef>
                <a:spcPts val="677"/>
              </a:spcBef>
              <a:buFont typeface="Wingdings" panose="05000000000000000000" pitchFamily="2" charset="2"/>
              <a:buNone/>
              <a:defRPr sz="2032"/>
            </a:lvl1pPr>
            <a:lvl2pPr marL="206104" indent="-206104">
              <a:lnSpc>
                <a:spcPts val="2710"/>
              </a:lnSpc>
              <a:spcBef>
                <a:spcPts val="677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032"/>
            </a:lvl2pPr>
            <a:lvl3pPr marL="406831" indent="-202520">
              <a:lnSpc>
                <a:spcPts val="2710"/>
              </a:lnSpc>
              <a:spcBef>
                <a:spcPts val="677"/>
              </a:spcBef>
              <a:buClr>
                <a:srgbClr val="7ABAD6"/>
              </a:buClr>
              <a:defRPr sz="2032"/>
            </a:lvl3pPr>
            <a:lvl4pPr marL="611142" indent="-20431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32"/>
            </a:lvl4pPr>
            <a:lvl5pPr marL="806491" indent="-19535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defRPr sz="2032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4297981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016216" y="1316568"/>
            <a:ext cx="3648737" cy="451273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678520" y="357718"/>
            <a:ext cx="9986433" cy="383116"/>
          </a:xfrm>
        </p:spPr>
        <p:txBody>
          <a:bodyPr anchor="ctr" anchorCtr="0"/>
          <a:lstStyle>
            <a:lvl1pPr>
              <a:defRPr sz="3387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052" y="1316568"/>
            <a:ext cx="7105121" cy="4512733"/>
          </a:xfrm>
        </p:spPr>
        <p:txBody>
          <a:bodyPr/>
          <a:lstStyle>
            <a:lvl1pPr marL="0" indent="0">
              <a:lnSpc>
                <a:spcPts val="2710"/>
              </a:lnSpc>
              <a:spcBef>
                <a:spcPts val="677"/>
              </a:spcBef>
              <a:buFont typeface="Wingdings" panose="05000000000000000000" pitchFamily="2" charset="2"/>
              <a:buNone/>
              <a:defRPr sz="2032"/>
            </a:lvl1pPr>
            <a:lvl2pPr marL="206104" indent="-206104">
              <a:lnSpc>
                <a:spcPts val="2710"/>
              </a:lnSpc>
              <a:spcBef>
                <a:spcPts val="677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032"/>
            </a:lvl2pPr>
            <a:lvl3pPr marL="406831" indent="-202520">
              <a:lnSpc>
                <a:spcPts val="2710"/>
              </a:lnSpc>
              <a:spcBef>
                <a:spcPts val="677"/>
              </a:spcBef>
              <a:buClr>
                <a:srgbClr val="7ABAD6"/>
              </a:buClr>
              <a:defRPr sz="2032"/>
            </a:lvl3pPr>
            <a:lvl4pPr marL="611142" indent="-20431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32"/>
            </a:lvl4pPr>
            <a:lvl5pPr marL="806491" indent="-19535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defRPr sz="2032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1923339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und 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0" y="5541438"/>
            <a:ext cx="11137900" cy="575733"/>
          </a:xfrm>
        </p:spPr>
        <p:txBody>
          <a:bodyPr/>
          <a:lstStyle>
            <a:lvl1pPr>
              <a:defRPr sz="1806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ildunterzeile hinzufügen</a:t>
            </a:r>
          </a:p>
        </p:txBody>
      </p:sp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27051" y="1316571"/>
            <a:ext cx="11137900" cy="4032647"/>
          </a:xfrm>
        </p:spPr>
        <p:txBody>
          <a:bodyPr/>
          <a:lstStyle>
            <a:lvl1pPr>
              <a:defRPr sz="3387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335156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3" name="Bild 2" descr="HG-Star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5" name="Bild 4" descr="logo-bmwi-jpg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sp>
        <p:nvSpPr>
          <p:cNvPr id="7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9" y="3834994"/>
            <a:ext cx="10562168" cy="745473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 hasCustomPrompt="1"/>
          </p:nvPr>
        </p:nvSpPr>
        <p:spPr>
          <a:xfrm>
            <a:off x="814918" y="2277534"/>
            <a:ext cx="10562169" cy="1341437"/>
          </a:xfrm>
        </p:spPr>
        <p:txBody>
          <a:bodyPr anchor="t"/>
          <a:lstStyle>
            <a:lvl1pPr>
              <a:defRPr sz="5333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9153980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052736"/>
            <a:ext cx="12192000" cy="5112568"/>
          </a:xfrm>
        </p:spPr>
        <p:txBody>
          <a:bodyPr/>
          <a:lstStyle>
            <a:lvl1pPr>
              <a:defRPr sz="3387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536212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2" descr="HG-Star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36"/>
          <a:stretch/>
        </p:blipFill>
        <p:spPr>
          <a:xfrm>
            <a:off x="0" y="1800229"/>
            <a:ext cx="12192000" cy="434105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5" y="354303"/>
            <a:ext cx="2284800" cy="1190807"/>
          </a:xfrm>
          <a:prstGeom prst="rect">
            <a:avLst/>
          </a:prstGeom>
        </p:spPr>
      </p:pic>
      <p:sp>
        <p:nvSpPr>
          <p:cNvPr id="9" name="Titel 3"/>
          <p:cNvSpPr>
            <a:spLocks noGrp="1"/>
          </p:cNvSpPr>
          <p:nvPr>
            <p:ph type="ctrTitle" idx="4294967295" hasCustomPrompt="1"/>
          </p:nvPr>
        </p:nvSpPr>
        <p:spPr>
          <a:xfrm>
            <a:off x="814921" y="2277536"/>
            <a:ext cx="10562165" cy="2302935"/>
          </a:xfrm>
        </p:spPr>
        <p:txBody>
          <a:bodyPr anchor="t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Titelmasterformat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91" y="72225"/>
            <a:ext cx="1678633" cy="17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13153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el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5" name="Bild 2" descr="HG-Start.jpg"/>
          <p:cNvPicPr>
            <a:picLocks noChangeAspect="1"/>
          </p:cNvPicPr>
          <p:nvPr userDrawn="1"/>
        </p:nvPicPr>
        <p:blipFill>
          <a:blip r:embed="rId3"/>
          <a:srcRect t="13936"/>
          <a:stretch/>
        </p:blipFill>
        <p:spPr bwMode="auto"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6" name="Bild 4" descr="logo-bmwi-jpg.jpg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9937538" y="354299"/>
            <a:ext cx="1498316" cy="1236269"/>
          </a:xfrm>
          <a:prstGeom prst="rect">
            <a:avLst/>
          </a:prstGeom>
        </p:spPr>
      </p:pic>
      <p:sp>
        <p:nvSpPr>
          <p:cNvPr id="7" name="Textplatzhalter 1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814919" y="3834994"/>
            <a:ext cx="10562168" cy="745473"/>
          </a:xfrm>
        </p:spPr>
        <p:txBody>
          <a:bodyPr/>
          <a:lstStyle>
            <a:lvl1pPr marL="0" marR="0" indent="0" algn="l" defTabSz="1219170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/>
              <a:buNone/>
              <a:defRPr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/>
              <a:buNone/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8" name="Titel 2"/>
          <p:cNvSpPr>
            <a:spLocks noGrp="1"/>
          </p:cNvSpPr>
          <p:nvPr>
            <p:ph type="title" hasCustomPrompt="1"/>
          </p:nvPr>
        </p:nvSpPr>
        <p:spPr bwMode="auto">
          <a:xfrm>
            <a:off x="814918" y="2277534"/>
            <a:ext cx="10562169" cy="1341437"/>
          </a:xfrm>
          <a:prstGeom prst="rect">
            <a:avLst/>
          </a:prstGeom>
          <a:noFill/>
          <a:ln>
            <a:noFill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>
            <a:schemeClr val="dk1"/>
          </a:fontRef>
        </p:style>
        <p:txBody>
          <a:bodyPr anchor="t"/>
          <a:lstStyle>
            <a:lvl1pPr>
              <a:defRPr sz="5400" b="0" i="0" cap="none" spc="0">
                <a:ln w="0">
                  <a:noFill/>
                </a:ln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6207660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Bild 2" descr="HG-Start.jpg"/>
          <p:cNvPicPr>
            <a:picLocks noChangeAspect="1"/>
          </p:cNvPicPr>
          <p:nvPr userDrawn="1"/>
        </p:nvPicPr>
        <p:blipFill>
          <a:blip r:embed="rId2"/>
          <a:srcRect t="46227"/>
          <a:stretch/>
        </p:blipFill>
        <p:spPr bwMode="auto">
          <a:xfrm>
            <a:off x="0" y="3428999"/>
            <a:ext cx="12192000" cy="2712284"/>
          </a:xfrm>
          <a:prstGeom prst="rect">
            <a:avLst/>
          </a:prstGeom>
        </p:spPr>
      </p:pic>
      <p:pic>
        <p:nvPicPr>
          <p:cNvPr id="5" name="Bild 4" descr="logo-bmwi-jpg.jpg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6" name="Grafik 7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7" name="Bild 1" descr="ThinkstockPhotos-534411144.jpg"/>
          <p:cNvPicPr>
            <a:picLocks noChangeAspect="1"/>
          </p:cNvPicPr>
          <p:nvPr userDrawn="1"/>
        </p:nvPicPr>
        <p:blipFill>
          <a:blip r:embed="rId5"/>
          <a:srcRect t="16542" b="63758"/>
          <a:stretch/>
        </p:blipFill>
        <p:spPr bwMode="auto">
          <a:xfrm>
            <a:off x="0" y="1791797"/>
            <a:ext cx="12192000" cy="1637204"/>
          </a:xfrm>
          <a:prstGeom prst="rect">
            <a:avLst/>
          </a:prstGeom>
        </p:spPr>
      </p:pic>
      <p:sp>
        <p:nvSpPr>
          <p:cNvPr id="8" name="Titel 2"/>
          <p:cNvSpPr>
            <a:spLocks noGrp="1"/>
          </p:cNvSpPr>
          <p:nvPr>
            <p:ph type="title" hasCustomPrompt="1"/>
          </p:nvPr>
        </p:nvSpPr>
        <p:spPr bwMode="auto">
          <a:xfrm>
            <a:off x="814917" y="3573016"/>
            <a:ext cx="10562167" cy="1200133"/>
          </a:xfrm>
        </p:spPr>
        <p:txBody>
          <a:bodyPr anchor="t"/>
          <a:lstStyle>
            <a:lvl1pPr>
              <a:defRPr sz="5400" b="0" i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814917" y="5061181"/>
            <a:ext cx="10850033" cy="480252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ext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5392025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e 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94449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>
          <a:xfrm>
            <a:off x="1678518" y="332656"/>
            <a:ext cx="9986433" cy="576064"/>
          </a:xfrm>
        </p:spPr>
        <p:txBody>
          <a:bodyPr/>
          <a:lstStyle>
            <a:lvl1pPr>
              <a:defRPr sz="3000" b="0" i="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27050" y="1316567"/>
            <a:ext cx="11137900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/>
              <a:buNone/>
              <a:defRPr sz="1800" b="0" i="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/>
              <a:buChar char="§"/>
              <a:defRPr sz="1800" b="0" i="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1800" b="0" i="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/>
              <a:buChar char="§"/>
              <a:defRPr sz="1800" b="0" i="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1800" b="0" i="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8329625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Nur Inhalt - zweispaltig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>
          <a:xfrm>
            <a:off x="1678518" y="332656"/>
            <a:ext cx="9986433" cy="576064"/>
          </a:xfrm>
        </p:spPr>
        <p:txBody>
          <a:bodyPr/>
          <a:lstStyle>
            <a:lvl1pPr>
              <a:defRPr sz="3000" b="0" i="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27050" y="1316567"/>
            <a:ext cx="5376335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/>
              <a:buNone/>
              <a:defRPr sz="1800" b="0" i="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/>
              <a:buChar char="§"/>
              <a:defRPr sz="1800" b="0" i="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1800" b="0" i="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/>
              <a:buChar char="§"/>
              <a:defRPr sz="1800" b="0" i="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1800" b="0" i="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6288618" y="1316567"/>
            <a:ext cx="5376332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/>
              <a:buNone/>
              <a:defRPr sz="1800" b="0" i="0">
                <a:latin typeface="Calibri"/>
              </a:defRPr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/>
              <a:buChar char="§"/>
              <a:defRPr sz="1800" b="0" i="0">
                <a:latin typeface="Calibri"/>
              </a:defRPr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1800" b="0" i="0">
                <a:latin typeface="Calibri"/>
              </a:defRPr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/>
              <a:buChar char="§"/>
              <a:defRPr sz="1800" b="0" i="0">
                <a:latin typeface="Calibri"/>
              </a:defRPr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1800" b="0" i="0">
                <a:latin typeface="Calibri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6332311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userDrawn="1">
  <p:cSld name="Titel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017339" y="1989139"/>
            <a:ext cx="9314555" cy="1368425"/>
          </a:xfrm>
        </p:spPr>
        <p:txBody>
          <a:bodyPr anchor="ctr"/>
          <a:lstStyle>
            <a:lvl1pPr marL="0" indent="0" algn="r">
              <a:buFont typeface="Arial"/>
              <a:buNone/>
              <a:defRPr sz="2000">
                <a:solidFill>
                  <a:srgbClr val="FF5A00"/>
                </a:solidFill>
              </a:defRPr>
            </a:lvl1pPr>
          </a:lstStyle>
          <a:p>
            <a:pPr lvl="0">
              <a:defRPr/>
            </a:pPr>
            <a:r>
              <a:rPr lang="de-DE"/>
              <a:t>Formatvorlage des Untertitelmasters durch Klicken bearbeiten</a:t>
            </a:r>
            <a:endParaRPr/>
          </a:p>
        </p:txBody>
      </p:sp>
      <p:sp>
        <p:nvSpPr>
          <p:cNvPr id="33801" name="Rectangle 9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858152" y="1014414"/>
            <a:ext cx="10473743" cy="542925"/>
          </a:xfrm>
        </p:spPr>
        <p:txBody>
          <a:bodyPr anchor="ctr"/>
          <a:lstStyle>
            <a:lvl1pPr>
              <a:lnSpc>
                <a:spcPct val="100000"/>
              </a:lnSpc>
              <a:defRPr sz="4300">
                <a:solidFill>
                  <a:schemeClr val="tx1"/>
                </a:solidFill>
              </a:defRPr>
            </a:lvl1pPr>
          </a:lstStyle>
          <a:p>
            <a:pPr lvl="0">
              <a:defRPr/>
            </a:pPr>
            <a:r>
              <a:rPr lang="de-DE"/>
              <a:t>Titelmasterformat durch Klicken bearbeiten</a:t>
            </a:r>
            <a:endParaRPr/>
          </a:p>
        </p:txBody>
      </p:sp>
      <p:grpSp>
        <p:nvGrpSpPr>
          <p:cNvPr id="33810" name="Group 18"/>
          <p:cNvGrpSpPr/>
          <p:nvPr/>
        </p:nvGrpSpPr>
        <p:grpSpPr bwMode="auto">
          <a:xfrm>
            <a:off x="10129701" y="6219825"/>
            <a:ext cx="1225651" cy="635000"/>
            <a:chOff x="5182" y="3918"/>
            <a:chExt cx="627" cy="400"/>
          </a:xfrm>
        </p:grpSpPr>
        <p:sp>
          <p:nvSpPr>
            <p:cNvPr id="33799" name="Line 7"/>
            <p:cNvSpPr>
              <a:spLocks noChangeShapeType="1"/>
            </p:cNvSpPr>
            <p:nvPr/>
          </p:nvSpPr>
          <p:spPr bwMode="auto">
            <a:xfrm>
              <a:off x="5182" y="3918"/>
              <a:ext cx="0" cy="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de-DE" sz="2400"/>
            </a:p>
          </p:txBody>
        </p:sp>
        <p:pic>
          <p:nvPicPr>
            <p:cNvPr id="33809" name="Picture 17" descr="ioew logo ppt"/>
            <p:cNvPicPr>
              <a:picLocks noChangeAspect="1" noChangeArrowheads="1"/>
            </p:cNvPicPr>
            <p:nvPr/>
          </p:nvPicPr>
          <p:blipFill>
            <a:blip r:embed="rId2"/>
            <a:stretch/>
          </p:blipFill>
          <p:spPr bwMode="auto">
            <a:xfrm>
              <a:off x="5262" y="3918"/>
              <a:ext cx="547" cy="234"/>
            </a:xfrm>
            <a:prstGeom prst="rect">
              <a:avLst/>
            </a:prstGeom>
            <a:noFill/>
          </p:spPr>
        </p:pic>
      </p:grpSp>
      <p:pic>
        <p:nvPicPr>
          <p:cNvPr id="33824" name="Logo1" descr="empty"/>
          <p:cNvPicPr>
            <a:picLocks noChangeAspect="1" noChangeArrowheads="1"/>
          </p:cNvPicPr>
          <p:nvPr/>
        </p:nvPicPr>
        <p:blipFill>
          <a:blip r:embed="rId3"/>
          <a:stretch/>
        </p:blipFill>
        <p:spPr bwMode="auto">
          <a:xfrm>
            <a:off x="8755487" y="6218239"/>
            <a:ext cx="1241288" cy="504825"/>
          </a:xfrm>
          <a:prstGeom prst="rect">
            <a:avLst/>
          </a:prstGeom>
          <a:noFill/>
        </p:spPr>
      </p:pic>
      <p:pic>
        <p:nvPicPr>
          <p:cNvPr id="33825" name="Logo2" descr="empty"/>
          <p:cNvPicPr>
            <a:picLocks noChangeAspect="1" noChangeArrowheads="1"/>
          </p:cNvPicPr>
          <p:nvPr/>
        </p:nvPicPr>
        <p:blipFill>
          <a:blip r:embed="rId3"/>
          <a:stretch/>
        </p:blipFill>
        <p:spPr bwMode="auto">
          <a:xfrm>
            <a:off x="7426232" y="6218239"/>
            <a:ext cx="1241288" cy="504825"/>
          </a:xfrm>
          <a:prstGeom prst="rect">
            <a:avLst/>
          </a:prstGeom>
          <a:noFill/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700791" y="3114675"/>
            <a:ext cx="4769677" cy="290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0695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62617" y="1600201"/>
            <a:ext cx="10119783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140207" y="413808"/>
            <a:ext cx="717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873F2D-1401-4A23-A41B-87100831EC77}" type="slidenum">
              <a:rPr lang="de-DE" sz="1000" smtClean="0"/>
              <a:pPr/>
              <a:t>‹Nr.›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6896996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D:\1_Prozesswaerme\D_Fotos\Hütt\100428 Termin HNA\CIMG0887-2 (Large).JPG"/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64" r="841" b="14397"/>
          <a:stretch/>
        </p:blipFill>
        <p:spPr bwMode="auto">
          <a:xfrm>
            <a:off x="-24680" y="0"/>
            <a:ext cx="1221668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311995"/>
            <a:ext cx="2664296" cy="614837"/>
          </a:xfrm>
          <a:prstGeom prst="rect">
            <a:avLst/>
          </a:prstGeom>
        </p:spPr>
      </p:pic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1154522" y="2628590"/>
            <a:ext cx="9882956" cy="418058"/>
          </a:xfrm>
        </p:spPr>
        <p:txBody>
          <a:bodyPr>
            <a:noAutofit/>
          </a:bodyPr>
          <a:lstStyle>
            <a:lvl1pPr algn="ctr">
              <a:defRPr sz="3600" b="1"/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23319" y="4147989"/>
            <a:ext cx="7345362" cy="865187"/>
          </a:xfrm>
        </p:spPr>
        <p:txBody>
          <a:bodyPr>
            <a:normAutofit/>
          </a:bodyPr>
          <a:lstStyle>
            <a:lvl1pPr marL="0" indent="0" algn="ctr">
              <a:buNone/>
              <a:defRPr sz="2800" b="1"/>
            </a:lvl1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2545056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2" descr="HG-Star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8999"/>
            <a:ext cx="12192000" cy="2712284"/>
          </a:xfrm>
          <a:prstGeom prst="rect">
            <a:avLst/>
          </a:prstGeom>
        </p:spPr>
      </p:pic>
      <p:pic>
        <p:nvPicPr>
          <p:cNvPr id="14" name="Bild 4" descr="logo-bmwi-jpg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2" name="Bild 1" descr="ThinkstockPhotos-534411144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91797"/>
            <a:ext cx="12192000" cy="1637204"/>
          </a:xfrm>
          <a:prstGeom prst="rect">
            <a:avLst/>
          </a:prstGeom>
        </p:spPr>
      </p:pic>
      <p:sp>
        <p:nvSpPr>
          <p:cNvPr id="11" name="Titel 2"/>
          <p:cNvSpPr>
            <a:spLocks noGrp="1"/>
          </p:cNvSpPr>
          <p:nvPr>
            <p:ph type="title" hasCustomPrompt="1"/>
          </p:nvPr>
        </p:nvSpPr>
        <p:spPr>
          <a:xfrm>
            <a:off x="814917" y="3573016"/>
            <a:ext cx="10562167" cy="1200133"/>
          </a:xfrm>
        </p:spPr>
        <p:txBody>
          <a:bodyPr anchor="t"/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2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7" y="5061181"/>
            <a:ext cx="10850033" cy="48025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8990622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7500" y="274638"/>
            <a:ext cx="9882956" cy="418058"/>
          </a:xfrm>
        </p:spPr>
        <p:txBody>
          <a:bodyPr>
            <a:noAutofit/>
          </a:bodyPr>
          <a:lstStyle>
            <a:lvl1pPr algn="l">
              <a:defRPr sz="26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1567" y="1124744"/>
            <a:ext cx="11583335" cy="5184576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0" y="6574734"/>
            <a:ext cx="11496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/>
            </a:pP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10.04.2024					                   15. Projektetreffen ENERGIEWENDEBAUEN</a:t>
            </a:r>
            <a:r>
              <a:rPr lang="de-DE" sz="10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11625712" y="6568776"/>
            <a:ext cx="566585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/>
            </a:pPr>
            <a:fld id="{5B06CE68-6D03-4F6E-842F-D4F026567FA3}" type="slidenum">
              <a:rPr lang="de-DE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>
                <a:tabLst/>
              </a:pPr>
              <a:t>‹Nr.›</a:t>
            </a:fld>
            <a:endParaRPr lang="de-DE" sz="10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6" descr="Z:\solar@uni-kassel.de\Administratives\8 Aussendarstellung (K-Vajen)\6-1 Logos\SAT 1001\sat_logo\sat_logo_100118.png">
            <a:extLst>
              <a:ext uri="{FF2B5EF4-FFF2-40B4-BE49-F238E27FC236}">
                <a16:creationId xmlns:a16="http://schemas.microsoft.com/office/drawing/2014/main" id="{E43C8CFF-9B8F-AB09-C77D-3AC30AC5BD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272464" y="61491"/>
            <a:ext cx="1717596" cy="580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9715221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title="Texteingabefeld Überschrift"/>
          <p:cNvSpPr>
            <a:spLocks noGrp="1"/>
          </p:cNvSpPr>
          <p:nvPr>
            <p:ph type="ctrTitle"/>
          </p:nvPr>
        </p:nvSpPr>
        <p:spPr>
          <a:xfrm>
            <a:off x="1011676" y="3891600"/>
            <a:ext cx="10804187" cy="603128"/>
          </a:xfrm>
          <a:prstGeom prst="rect">
            <a:avLst/>
          </a:prstGeom>
        </p:spPr>
        <p:txBody>
          <a:bodyPr anchor="t" anchorCtr="0"/>
          <a:lstStyle>
            <a:lvl1pPr algn="r">
              <a:defRPr sz="30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 title="Texteingabefeld Unterüberschrift"/>
          <p:cNvSpPr>
            <a:spLocks noGrp="1"/>
          </p:cNvSpPr>
          <p:nvPr>
            <p:ph type="subTitle" idx="1"/>
          </p:nvPr>
        </p:nvSpPr>
        <p:spPr>
          <a:xfrm>
            <a:off x="1011676" y="4494728"/>
            <a:ext cx="10804187" cy="165576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4" name="Grafik 3" title="Logo der Universität Kassel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8993" y="248185"/>
            <a:ext cx="3771392" cy="816864"/>
          </a:xfrm>
          <a:prstGeom prst="rect">
            <a:avLst/>
          </a:prstGeom>
        </p:spPr>
      </p:pic>
      <p:cxnSp>
        <p:nvCxnSpPr>
          <p:cNvPr id="6" name="Gewinkelte Verbindung 5" descr="Das ist ein Gestaltungselement." title="Linie"/>
          <p:cNvCxnSpPr/>
          <p:nvPr userDrawn="1"/>
        </p:nvCxnSpPr>
        <p:spPr>
          <a:xfrm rot="5400000" flipH="1" flipV="1">
            <a:off x="2754951" y="-2026626"/>
            <a:ext cx="6876000" cy="10944000"/>
          </a:xfrm>
          <a:prstGeom prst="bentConnector3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886775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 title="Texteingabefeld"/>
          <p:cNvSpPr>
            <a:spLocks noGrp="1"/>
          </p:cNvSpPr>
          <p:nvPr>
            <p:ph idx="1"/>
          </p:nvPr>
        </p:nvSpPr>
        <p:spPr>
          <a:xfrm>
            <a:off x="719667" y="1839306"/>
            <a:ext cx="8688917" cy="3749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8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19667" y="1268413"/>
            <a:ext cx="8688917" cy="57497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16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" name="Fußzeilenplatzhalter 1" descr="Das ist ein Texteingabefeld" title="Texteingabefeld für Präsentation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grpSp>
        <p:nvGrpSpPr>
          <p:cNvPr id="6" name="Gruppieren 5" descr="Das ist ein Gestaltungselement." title="Linie"/>
          <p:cNvGrpSpPr/>
          <p:nvPr userDrawn="1"/>
        </p:nvGrpSpPr>
        <p:grpSpPr>
          <a:xfrm>
            <a:off x="654997" y="0"/>
            <a:ext cx="11537004" cy="714982"/>
            <a:chOff x="491247" y="0"/>
            <a:chExt cx="8652753" cy="714982"/>
          </a:xfrm>
        </p:grpSpPr>
        <p:cxnSp>
          <p:nvCxnSpPr>
            <p:cNvPr id="5" name="Gerader Verbinder 4"/>
            <p:cNvCxnSpPr/>
            <p:nvPr userDrawn="1"/>
          </p:nvCxnSpPr>
          <p:spPr>
            <a:xfrm>
              <a:off x="496111" y="0"/>
              <a:ext cx="0" cy="705255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/>
            <p:cNvCxnSpPr/>
            <p:nvPr userDrawn="1"/>
          </p:nvCxnSpPr>
          <p:spPr>
            <a:xfrm flipV="1">
              <a:off x="491247" y="705255"/>
              <a:ext cx="8652753" cy="9727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eck 10"/>
          <p:cNvSpPr/>
          <p:nvPr userDrawn="1"/>
        </p:nvSpPr>
        <p:spPr>
          <a:xfrm>
            <a:off x="10611670" y="249799"/>
            <a:ext cx="7457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/>
              <a:t> </a:t>
            </a:r>
            <a:r>
              <a:rPr lang="de-DE" sz="8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Seite  </a:t>
            </a:r>
            <a:fld id="{5449781D-0448-42FD-A793-E618FAFBAD6B}" type="slidenum">
              <a:rPr lang="de-DE" sz="8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‹Nr.›</a:t>
            </a:fld>
            <a:endParaRPr lang="de-DE" sz="800" kern="120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1141" y="6165201"/>
            <a:ext cx="312827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289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 title="Texteingabefeld "/>
          <p:cNvSpPr>
            <a:spLocks noGrp="1"/>
          </p:cNvSpPr>
          <p:nvPr>
            <p:ph idx="1"/>
          </p:nvPr>
        </p:nvSpPr>
        <p:spPr>
          <a:xfrm>
            <a:off x="719667" y="1839306"/>
            <a:ext cx="6432551" cy="3749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8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Title 1" title="Texteingabefeld Seitenüberschrift"/>
          <p:cNvSpPr>
            <a:spLocks noGrp="1"/>
          </p:cNvSpPr>
          <p:nvPr>
            <p:ph type="title"/>
          </p:nvPr>
        </p:nvSpPr>
        <p:spPr>
          <a:xfrm>
            <a:off x="719667" y="1268413"/>
            <a:ext cx="8688917" cy="57497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16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Content Placeholder 2" title="Texteingabefeld Seitenüberschrift"/>
          <p:cNvSpPr>
            <a:spLocks noGrp="1"/>
          </p:cNvSpPr>
          <p:nvPr>
            <p:ph idx="12"/>
          </p:nvPr>
        </p:nvSpPr>
        <p:spPr>
          <a:xfrm>
            <a:off x="7391402" y="1839306"/>
            <a:ext cx="4273549" cy="3749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8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pic>
        <p:nvPicPr>
          <p:cNvPr id="9" name="Grafik 8" title="Logo der Universität Kassel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995" y="6072275"/>
            <a:ext cx="2266245" cy="490857"/>
          </a:xfrm>
          <a:prstGeom prst="rect">
            <a:avLst/>
          </a:prstGeom>
        </p:spPr>
      </p:pic>
      <p:grpSp>
        <p:nvGrpSpPr>
          <p:cNvPr id="12" name="Gruppieren 11" descr="Das ist ein Gestaltungselement." title="Linie"/>
          <p:cNvGrpSpPr/>
          <p:nvPr userDrawn="1"/>
        </p:nvGrpSpPr>
        <p:grpSpPr>
          <a:xfrm>
            <a:off x="654997" y="0"/>
            <a:ext cx="11537004" cy="714982"/>
            <a:chOff x="491247" y="0"/>
            <a:chExt cx="8652753" cy="714982"/>
          </a:xfrm>
        </p:grpSpPr>
        <p:cxnSp>
          <p:nvCxnSpPr>
            <p:cNvPr id="13" name="Gerader Verbinder 12"/>
            <p:cNvCxnSpPr/>
            <p:nvPr userDrawn="1"/>
          </p:nvCxnSpPr>
          <p:spPr>
            <a:xfrm>
              <a:off x="496111" y="0"/>
              <a:ext cx="0" cy="705255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/>
            <p:cNvCxnSpPr/>
            <p:nvPr userDrawn="1"/>
          </p:nvCxnSpPr>
          <p:spPr>
            <a:xfrm flipV="1">
              <a:off x="491247" y="705255"/>
              <a:ext cx="8652753" cy="9727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eck 10"/>
          <p:cNvSpPr/>
          <p:nvPr userDrawn="1"/>
        </p:nvSpPr>
        <p:spPr>
          <a:xfrm>
            <a:off x="10611670" y="249799"/>
            <a:ext cx="7457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/>
              <a:t> </a:t>
            </a:r>
            <a:r>
              <a:rPr lang="de-DE" sz="8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Seite  </a:t>
            </a:r>
            <a:fld id="{5449781D-0448-42FD-A793-E618FAFBAD6B}" type="slidenum">
              <a:rPr lang="de-DE" sz="8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‹Nr.›</a:t>
            </a:fld>
            <a:endParaRPr lang="de-DE" sz="800" kern="120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6425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8FFA81-7A2C-A22F-497C-2641077460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C02FDA-66A3-5B8E-419D-42EB1F8F1F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C3DFB6-AAB9-0FB6-5D7E-C6808DB92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8900D1-CB14-03A4-733E-A181F24C6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54DA2AA-80C7-1260-4D34-AA105E134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743215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16C77D-68EF-9160-F151-232945DC5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9FB0CD3-7A38-EEBD-9D75-16B83C5912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51B899A-CD69-410E-C0DD-A66F62D09D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74EE35-DAC1-5704-650A-3896037F27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581039C-A21D-9211-655B-682822CC6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431726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C904BB-BD28-7A48-508F-5A77CB0A2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F4AF81-AE59-7C88-150B-CCDE61AA9B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94CC94B-35C9-1F63-2D78-018A68956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4EB72-AE5F-C0C4-81DA-E51B74EC6A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35D8B4-432D-6523-9F60-3106E0106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847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1B5010-8A22-457A-92DF-8B6423600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7D45B1-A593-B807-BEA7-97C86B4DBC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C5F6797-5772-2846-A523-19262BC6B4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360B82E-A083-FB2C-B5FF-F7573379B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0A98A05-1041-BD78-0924-D4DA02FD5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E6DDF6-4758-A848-17F3-723E88FA9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131376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2DC40F-E565-C12E-8671-DF91D041C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FD46F5-62C4-8519-64B5-7637B7826E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615F465-7527-369B-ED4A-3C45E621EB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8F4951-BDD1-DC89-29CC-95AB38FA4C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31450F9-38ED-0894-489A-11281AD3785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9FC2D0E-F6A9-5307-CF4C-20E3653EB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2ECE20-C36B-E5E0-A8F0-4A6F37779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34D274-E3C5-28B5-C25B-3CF3014DE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89544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3A136-499A-C0EA-B893-FA62087D5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C57FC6-009E-7D9D-9765-3FF6E3024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E2D874-1CDE-3ED3-9DA6-498F1EE28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4A20AF-A709-83A0-6F00-3ED7EF275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7618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2593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BB73D27-2457-DBC8-6E9C-9AA5B68B7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CE55B29-5678-639D-D192-D6161DCFD9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EDD280-6088-A100-4D10-4F5E5A5DE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685777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BEDD19-529A-4A8B-016F-899F03E7F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5AF539-6CD7-92FA-C7F9-8E73D29DB6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AF99C9-382E-F93B-7930-BE9B032AC4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01AC88A-1A06-14D7-462C-7D1099039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C064738-4E8E-B648-C293-642AC6A8A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FB7B99-866C-532D-754B-185D31062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7984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2BED8-6EFC-3C2A-B8B0-350433B9A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196BB74-D37C-9F00-4A9D-FAB91772B3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BB2E54F-751E-1980-43B6-CC59D6B092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6923B7D-B87B-5F11-E37A-4CD2EEA45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099EE-2C52-927D-5F16-88266C3A3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DB46B67-A25A-7930-849A-BF50B0880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67656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2F418D-1E08-424B-C6A4-334BF27D7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4DFF1A4-0646-A848-D63A-EBE6045EFB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BD1761-EF2A-E555-C402-55207C6B9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93B68F3-4017-7EB2-EE87-230218641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71D328-AFD3-A6D0-A21D-A855310EE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879650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233F0576-8EC8-1128-27DF-5D980145EF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1979F51-2FFE-20B2-B235-921C2867C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1582-A53A-BB23-20F7-F9255220D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6535CE1-4C55-B65D-6271-C1D211B5C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4977B3F-062F-EBC6-C86E-C70F63CB6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1436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Normal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ebene 1…"/>
          <p:cNvSpPr txBox="1">
            <a:spLocks noGrp="1"/>
          </p:cNvSpPr>
          <p:nvPr>
            <p:ph type="body" sz="half" idx="1"/>
          </p:nvPr>
        </p:nvSpPr>
        <p:spPr>
          <a:xfrm>
            <a:off x="719667" y="1839305"/>
            <a:ext cx="8688919" cy="3749235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1000"/>
              </a:spcBef>
              <a:defRPr sz="1600"/>
            </a:lvl1pPr>
            <a:lvl2pPr algn="l">
              <a:lnSpc>
                <a:spcPct val="100000"/>
              </a:lnSpc>
              <a:spcBef>
                <a:spcPts val="1000"/>
              </a:spcBef>
              <a:defRPr sz="1600"/>
            </a:lvl2pPr>
            <a:lvl3pPr algn="l">
              <a:lnSpc>
                <a:spcPct val="100000"/>
              </a:lnSpc>
              <a:spcBef>
                <a:spcPts val="1000"/>
              </a:spcBef>
              <a:defRPr sz="1600"/>
            </a:lvl3pPr>
            <a:lvl4pPr marL="1574800" indent="-203200" algn="l">
              <a:lnSpc>
                <a:spcPct val="100000"/>
              </a:lnSpc>
              <a:spcBef>
                <a:spcPts val="1000"/>
              </a:spcBef>
              <a:buSzPct val="100000"/>
              <a:buChar char="•"/>
              <a:defRPr sz="1600"/>
            </a:lvl4pPr>
            <a:lvl5pPr marL="2032000" indent="-203200" algn="l">
              <a:lnSpc>
                <a:spcPct val="100000"/>
              </a:lnSpc>
              <a:spcBef>
                <a:spcPts val="1000"/>
              </a:spcBef>
              <a:buSzPct val="100000"/>
              <a:buChar char="•"/>
              <a:defRPr sz="16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23" name="Titeltext"/>
          <p:cNvSpPr txBox="1">
            <a:spLocks noGrp="1"/>
          </p:cNvSpPr>
          <p:nvPr>
            <p:ph type="title"/>
          </p:nvPr>
        </p:nvSpPr>
        <p:spPr>
          <a:xfrm>
            <a:off x="719667" y="1268413"/>
            <a:ext cx="8688919" cy="57497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rgbClr val="950C45"/>
                </a:solidFill>
              </a:defRPr>
            </a:lvl1pPr>
          </a:lstStyle>
          <a:p>
            <a:r>
              <a:t>Titeltext</a:t>
            </a:r>
          </a:p>
        </p:txBody>
      </p:sp>
      <p:grpSp>
        <p:nvGrpSpPr>
          <p:cNvPr id="26" name="LinieGruppieren 5"/>
          <p:cNvGrpSpPr/>
          <p:nvPr/>
        </p:nvGrpSpPr>
        <p:grpSpPr>
          <a:xfrm>
            <a:off x="654995" y="-1"/>
            <a:ext cx="11537007" cy="714984"/>
            <a:chOff x="0" y="0"/>
            <a:chExt cx="8652753" cy="714982"/>
          </a:xfrm>
        </p:grpSpPr>
        <p:sp>
          <p:nvSpPr>
            <p:cNvPr id="24" name="Gerader Verbinder 4"/>
            <p:cNvSpPr/>
            <p:nvPr/>
          </p:nvSpPr>
          <p:spPr>
            <a:xfrm flipH="1">
              <a:off x="4864" y="-1"/>
              <a:ext cx="1" cy="705256"/>
            </a:xfrm>
            <a:prstGeom prst="line">
              <a:avLst/>
            </a:prstGeom>
            <a:noFill/>
            <a:ln w="19050" cap="flat">
              <a:solidFill>
                <a:srgbClr val="C7105C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800"/>
            </a:p>
          </p:txBody>
        </p:sp>
        <p:sp>
          <p:nvSpPr>
            <p:cNvPr id="25" name="Gerader Verbinder 8"/>
            <p:cNvSpPr/>
            <p:nvPr/>
          </p:nvSpPr>
          <p:spPr>
            <a:xfrm flipV="1">
              <a:off x="-1" y="705254"/>
              <a:ext cx="8652755" cy="9728"/>
            </a:xfrm>
            <a:prstGeom prst="line">
              <a:avLst/>
            </a:prstGeom>
            <a:noFill/>
            <a:ln w="19050" cap="flat">
              <a:solidFill>
                <a:srgbClr val="C7105C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800"/>
            </a:p>
          </p:txBody>
        </p:sp>
      </p:grpSp>
      <p:pic>
        <p:nvPicPr>
          <p:cNvPr id="27" name="Logo der Universität KasselGrafik 9" descr="Logo der Universität Kassel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8993" y="6072273"/>
            <a:ext cx="2266248" cy="490858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76525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7"/>
            <a:ext cx="11137900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7"/>
            <a:ext cx="5376335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88618" y="1316567"/>
            <a:ext cx="5376332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713116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016214" y="1316567"/>
            <a:ext cx="3648737" cy="4512733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678518" y="357718"/>
            <a:ext cx="9986433" cy="383116"/>
          </a:xfrm>
        </p:spPr>
        <p:txBody>
          <a:bodyPr anchor="ctr" anchorCtr="0"/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050" y="1316567"/>
            <a:ext cx="7105121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955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und 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0" y="5541434"/>
            <a:ext cx="11137900" cy="575733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ildunterzeile hinzufügen</a:t>
            </a:r>
          </a:p>
        </p:txBody>
      </p:sp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27051" y="1316567"/>
            <a:ext cx="11137900" cy="4032647"/>
          </a:xfrm>
        </p:spPr>
        <p:txBody>
          <a:bodyPr/>
          <a:lstStyle>
            <a:lvl1pPr>
              <a:defRPr sz="4000"/>
            </a:lvl1pPr>
          </a:lstStyle>
          <a:p>
            <a:endParaRPr lang="de-DE" dirty="0"/>
          </a:p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887799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052736"/>
            <a:ext cx="12192000" cy="5112568"/>
          </a:xfrm>
        </p:spPr>
        <p:txBody>
          <a:bodyPr/>
          <a:lstStyle>
            <a:lvl1pPr>
              <a:defRPr sz="4000"/>
            </a:lvl1pPr>
          </a:lstStyle>
          <a:p>
            <a:endParaRPr lang="de-DE" dirty="0"/>
          </a:p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760276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2" descr="HG-Star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15" name="Bild 4" descr="logo-bmwi-jpg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sp>
        <p:nvSpPr>
          <p:cNvPr id="9" name="Titel 3"/>
          <p:cNvSpPr>
            <a:spLocks noGrp="1"/>
          </p:cNvSpPr>
          <p:nvPr>
            <p:ph type="ctrTitle" idx="4294967295" hasCustomPrompt="1"/>
          </p:nvPr>
        </p:nvSpPr>
        <p:spPr>
          <a:xfrm>
            <a:off x="814919" y="2277533"/>
            <a:ext cx="10562165" cy="2302935"/>
          </a:xfrm>
        </p:spPr>
        <p:txBody>
          <a:bodyPr anchor="t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49496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2" descr="HG-Star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27"/>
          <a:stretch/>
        </p:blipFill>
        <p:spPr>
          <a:xfrm>
            <a:off x="0" y="3428999"/>
            <a:ext cx="12192000" cy="2712284"/>
          </a:xfrm>
          <a:prstGeom prst="rect">
            <a:avLst/>
          </a:prstGeom>
        </p:spPr>
      </p:pic>
      <p:pic>
        <p:nvPicPr>
          <p:cNvPr id="14" name="Bild 4" descr="logo-bmwi-jpg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2" name="Bild 1" descr="ThinkstockPhotos-534411144.jp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42" b="63758"/>
          <a:stretch/>
        </p:blipFill>
        <p:spPr>
          <a:xfrm>
            <a:off x="0" y="1791797"/>
            <a:ext cx="12192000" cy="1637204"/>
          </a:xfrm>
          <a:prstGeom prst="rect">
            <a:avLst/>
          </a:prstGeom>
        </p:spPr>
      </p:pic>
      <p:sp>
        <p:nvSpPr>
          <p:cNvPr id="11" name="Titel 2"/>
          <p:cNvSpPr>
            <a:spLocks noGrp="1"/>
          </p:cNvSpPr>
          <p:nvPr>
            <p:ph type="title" hasCustomPrompt="1"/>
          </p:nvPr>
        </p:nvSpPr>
        <p:spPr>
          <a:xfrm>
            <a:off x="814917" y="3573016"/>
            <a:ext cx="10562167" cy="1200133"/>
          </a:xfrm>
        </p:spPr>
        <p:txBody>
          <a:bodyPr anchor="t"/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2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7" y="5061181"/>
            <a:ext cx="10850033" cy="48025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899062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dirty="0"/>
              <a:t>Textbereich</a:t>
            </a:r>
          </a:p>
        </p:txBody>
      </p:sp>
    </p:spTree>
    <p:extLst>
      <p:ext uri="{BB962C8B-B14F-4D97-AF65-F5344CB8AC3E}">
        <p14:creationId xmlns:p14="http://schemas.microsoft.com/office/powerpoint/2010/main" val="15763128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B0DCE9-2DDD-4DA2-9CC6-B22050FC82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FCC86AA-59B0-41F2-88F0-11BF92F01B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E86CA5-0595-4EFA-8A73-3E7E5A4CB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BCC66E-3596-468F-9294-8818A0616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atumsplatzhalter 13">
            <a:extLst>
              <a:ext uri="{FF2B5EF4-FFF2-40B4-BE49-F238E27FC236}">
                <a16:creationId xmlns:a16="http://schemas.microsoft.com/office/drawing/2014/main" id="{AC4229D5-7059-4915-9775-EF0A9CFE79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2245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FDC25D-D460-40C1-9D11-E573590871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68066"/>
            <a:ext cx="10515600" cy="4908897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rgbClr val="0046A0"/>
              </a:buClr>
              <a:buFont typeface="Arial" panose="020B0604020202020204" pitchFamily="34" charset="0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0150" indent="-285750">
              <a:buClr>
                <a:srgbClr val="0046A0"/>
              </a:buClr>
              <a:buFont typeface="Arial" panose="020B0604020202020204" pitchFamily="34" charset="0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57350" indent="-285750">
              <a:buClr>
                <a:srgbClr val="0046A0"/>
              </a:buClr>
              <a:buFont typeface="Arial" panose="020B0604020202020204" pitchFamily="34" charset="0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14550" indent="-285750">
              <a:buClr>
                <a:srgbClr val="0046A0"/>
              </a:buClr>
              <a:buFont typeface="Arial" panose="020B0604020202020204" pitchFamily="34" charset="0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1A87DF-3599-416B-9F3A-955B97D79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A449A4-B121-4503-8A42-1E6B963AC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Datumsplatzhalter 13">
            <a:extLst>
              <a:ext uri="{FF2B5EF4-FFF2-40B4-BE49-F238E27FC236}">
                <a16:creationId xmlns:a16="http://schemas.microsoft.com/office/drawing/2014/main" id="{D3B8FD46-D029-4083-AB42-D8D9D3CD23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itelplatzhalter 11">
            <a:extLst>
              <a:ext uri="{FF2B5EF4-FFF2-40B4-BE49-F238E27FC236}">
                <a16:creationId xmlns:a16="http://schemas.microsoft.com/office/drawing/2014/main" id="{B528EEE7-584D-7DEB-7C58-EBA0A6DAD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521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3B6AC2-765D-4AD6-8C26-5CEC00844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235676"/>
            <a:ext cx="10515600" cy="3326799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AEDCF2-7F6B-4F73-B1FD-D2A4DAC34B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7B4A34-49DB-48A7-A354-578C43F71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E91A23-AE55-46EF-A41C-9CEF1CBC2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atumsplatzhalter 13">
            <a:extLst>
              <a:ext uri="{FF2B5EF4-FFF2-40B4-BE49-F238E27FC236}">
                <a16:creationId xmlns:a16="http://schemas.microsoft.com/office/drawing/2014/main" id="{1B34E37B-7C62-4B83-988B-E57DFFDA2C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50168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7646143-D304-4C1E-A37B-66A706D285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268067"/>
            <a:ext cx="5181600" cy="4908896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FE2387A-BCEE-4D47-A0B5-1C5C37CB93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68065"/>
            <a:ext cx="5181600" cy="4908897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D763610-E9C1-4AFD-8936-9AE0602476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D9A5500-F430-4633-97CD-45DD0065E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Datumsplatzhalter 13">
            <a:extLst>
              <a:ext uri="{FF2B5EF4-FFF2-40B4-BE49-F238E27FC236}">
                <a16:creationId xmlns:a16="http://schemas.microsoft.com/office/drawing/2014/main" id="{C5901880-37AE-4433-BE0A-5F336C54C415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itelplatzhalter 11">
            <a:extLst>
              <a:ext uri="{FF2B5EF4-FFF2-40B4-BE49-F238E27FC236}">
                <a16:creationId xmlns:a16="http://schemas.microsoft.com/office/drawing/2014/main" id="{F4E3E519-91A2-6493-B814-AA828096A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4237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4C6F980-7B70-4AF3-8850-DDCD06EB4B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269207"/>
            <a:ext cx="5157787" cy="5760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CC6FE67-5997-4CD5-9818-64EAF48E52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1845276"/>
            <a:ext cx="5157787" cy="4344387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28B61-8824-4CFA-BB97-123CD4B7B9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269207"/>
            <a:ext cx="5183188" cy="5760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7E7EC1-7229-4BC5-886E-20F74665244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845276"/>
            <a:ext cx="5183188" cy="4344387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98CB08F-4DE9-4577-BDDB-77B2EDFCBC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54C8890-74E0-4697-8C8D-1C790BE7D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Datumsplatzhalter 13">
            <a:extLst>
              <a:ext uri="{FF2B5EF4-FFF2-40B4-BE49-F238E27FC236}">
                <a16:creationId xmlns:a16="http://schemas.microsoft.com/office/drawing/2014/main" id="{059E16D5-C5DD-40C3-9D0F-C103ADD523E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itelplatzhalter 11">
            <a:extLst>
              <a:ext uri="{FF2B5EF4-FFF2-40B4-BE49-F238E27FC236}">
                <a16:creationId xmlns:a16="http://schemas.microsoft.com/office/drawing/2014/main" id="{89FBFEA1-4D02-902F-BFB8-ACA4FC9DE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65351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9CC849-EDA7-476C-839F-4E7A38E9D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33BE390-915B-4770-BFE7-EE03DA649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Datumsplatzhalter 13">
            <a:extLst>
              <a:ext uri="{FF2B5EF4-FFF2-40B4-BE49-F238E27FC236}">
                <a16:creationId xmlns:a16="http://schemas.microsoft.com/office/drawing/2014/main" id="{692F4DBB-F37D-4F04-98E4-5E07E54629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Titelplatzhalter 11">
            <a:extLst>
              <a:ext uri="{FF2B5EF4-FFF2-40B4-BE49-F238E27FC236}">
                <a16:creationId xmlns:a16="http://schemas.microsoft.com/office/drawing/2014/main" id="{1FBCDB6E-B2DE-87DE-A8F4-D5250CED9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81975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F6BDA9-E19C-43DF-8056-AE19CF078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4535C2-87C3-40EB-BA54-F3D7F47CB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13">
            <a:extLst>
              <a:ext uri="{FF2B5EF4-FFF2-40B4-BE49-F238E27FC236}">
                <a16:creationId xmlns:a16="http://schemas.microsoft.com/office/drawing/2014/main" id="{99FEC5FD-E7F1-4A41-97B1-5A16E1451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7194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D38C81-49FA-8736-E9C5-8438002C0E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44CCD51-5607-B36D-5BAB-ADFB7F7A68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1326CDC-F928-2E6E-D73C-53B7989DF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509AF9-7A98-04B5-D863-B9AA35CA22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8F9C50-1D7B-3C91-7AC1-49F44D709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3155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3D7798-5CBA-A981-A052-69C8AF3930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659EEB-3407-7C57-0145-EFD6B0A5AC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B65F73-5A68-4A3E-6844-ED8936709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9FF686-32FC-5023-F8D0-B773F4F4A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F8C86F-7065-7B44-4E98-923FCFD86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7240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2593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F4A735-2A08-D05B-6FA4-7BCF09AE4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B756DF0-6162-A354-27F2-217E53B980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58F99A-6E30-F9AC-F22E-284B6ADB4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E33DA49-4899-CFB3-A508-7A71DC485B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778EE5-5ECF-57E9-E92B-8045180BD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51396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D1BF03-409C-4968-3E64-0B0ED8C16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BD0279-716E-365B-018D-929670D9E2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502636-E314-3835-DF1C-4E6F0CBDE4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E1AC175-76ED-6D71-2D5C-68E73A438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E60051-88B6-EA2D-DE1C-867A8D15C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BCC5EC-1911-D552-AE84-8B59413EE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20167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C18EC3-C9BC-6565-51CF-01E2E9184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06E6E3-D1F1-71E4-FE3C-291D1B6FA3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201455D-0837-BE83-5453-DE764852F6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61FB03C-E839-3AAE-C09B-770CD7E1EF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3ABD84C-41B1-7869-6F55-9238872C03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A9D3814-6597-6B13-960D-E386ABFA2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0810A15-52C5-CB18-EAA7-89F96A36E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C558AF9-416F-9796-EF5B-769CD37D7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2253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5092A9-5A38-E227-22AC-4403A4CB2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1B98C0-06FF-BDE6-A77C-FCEB3621B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194A84-EC5D-35B8-7F0A-6D938FB9D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2994A34-EEEC-DDB5-BCDF-40B52C408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40693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F33E2-BAD1-F600-C26D-81B864F44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0756A0-2813-342D-8341-302407C6A9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A212AD4-92A5-4264-1D3B-44CF8E205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75134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ED91E-DE28-9247-909C-378A72749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04AAFF-7850-97D4-3539-B5973628E8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BA8753-6B46-4295-6BA0-B994E7D5F5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2CDE8D-D970-8106-F8FC-8AADB028A2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2E5239-81E4-AEB3-C2D4-337140453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0BB13E-BC4A-11B8-5F24-FB9F486A7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13288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80007A-9BBD-2EDD-81C8-5CA387ABB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0CE67CA-987A-5EF3-507D-3D481202F9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6B3A3D-A40F-82D4-550A-31E25F75AF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DA03B13-9081-9EAE-B925-14D88D4C0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23C8AC2-9058-A236-7B62-7D872C34B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6665C03-8241-2D72-DA09-0A59F22C5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11587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990C19-7939-25A2-CFA2-6DA8EFEDC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BF7B3F6-6E0A-6CB4-9091-B940496950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613FB5-447B-A4A2-5636-34AD215F62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4AEE2A-7C85-BF90-2177-EEF319546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D7921F-220B-450F-6382-52E76DEA5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23414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970CADB-B663-E917-F985-51F7FF9B4C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2025929-784B-7E0F-A417-094383263B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B4D908-A4A0-4121-BE78-F6CBCA961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B426607-267F-F68F-6A88-EB57B76E64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6180DF-EA48-8062-05E6-F5FCB7592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3187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DD402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Beispiel-Titel</a:t>
            </a:r>
            <a:r>
              <a:rPr lang="en-US" dirty="0"/>
              <a:t>, 1. </a:t>
            </a:r>
            <a:r>
              <a:rPr lang="en-US" dirty="0" err="1"/>
              <a:t>Variant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665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7"/>
            <a:ext cx="11137900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9D9E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2. Variant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10495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3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3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15141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4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473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4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5230805"/>
            <a:ext cx="11424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46770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5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5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11"/>
          <p:cNvCxnSpPr/>
          <p:nvPr userDrawn="1"/>
        </p:nvCxnSpPr>
        <p:spPr>
          <a:xfrm>
            <a:off x="383121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6133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6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6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3196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383121" y="3036888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1308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7. Variante (mit Partner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 baseline="0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7. Variante (mit Partnerlogo)</a:t>
            </a:r>
            <a:endParaRPr lang="en-US" dirty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2510400" y="6351373"/>
            <a:ext cx="2160000" cy="4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Partnerlogo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72000" y="5731200"/>
            <a:ext cx="6945600" cy="432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r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4838400" y="6375605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73743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314800"/>
          </a:xfrm>
          <a:prstGeom prst="rect">
            <a:avLst/>
          </a:prstGeom>
        </p:spPr>
        <p:txBody>
          <a:bodyPr/>
          <a:lstStyle>
            <a:lvl1pPr marL="0" marR="0" indent="0" algn="l" defTabSz="2160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847599"/>
            <a:ext cx="5539200" cy="33156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Kontaktdaten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24876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20252060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3999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dirty="0"/>
              <a:t>Firmenadresse</a:t>
            </a:r>
          </a:p>
          <a:p>
            <a:endParaRPr lang="de-DE" dirty="0"/>
          </a:p>
        </p:txBody>
      </p:sp>
      <p:sp>
        <p:nvSpPr>
          <p:cNvPr id="11" name="Textplatzhalter 1"/>
          <p:cNvSpPr>
            <a:spLocks noGrp="1"/>
          </p:cNvSpPr>
          <p:nvPr>
            <p:ph type="body" sz="quarter" idx="16" hasCustomPrompt="1"/>
          </p:nvPr>
        </p:nvSpPr>
        <p:spPr>
          <a:xfrm>
            <a:off x="6268800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sz="1400" dirty="0"/>
              <a:t>Kontaktda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47268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24784203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3. Variante">
    <p:bg>
      <p:bgPr>
        <a:blipFill dpi="0" rotWithShape="1">
          <a:blip r:embed="rId2">
            <a:alphaModFix amt="20000"/>
            <a:lum/>
          </a:blip>
          <a:srcRect/>
          <a:stretch>
            <a:fillRect l="-9000" r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563200"/>
            <a:ext cx="5539200" cy="360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de-DE" dirty="0"/>
              <a:t>Kontaktdaten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12344100" y="540458"/>
            <a:ext cx="2188633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Rechtsklick auf freie Fläche innerhalb der Folie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Hintergrund formatieren anklicken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Unter "Füllung" den Button "Datei..." anklicken und Grafik auswählen.</a:t>
            </a:r>
          </a:p>
        </p:txBody>
      </p:sp>
    </p:spTree>
    <p:extLst>
      <p:ext uri="{BB962C8B-B14F-4D97-AF65-F5344CB8AC3E}">
        <p14:creationId xmlns:p14="http://schemas.microsoft.com/office/powerpoint/2010/main" val="30765466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Partner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25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7"/>
            <a:ext cx="5376335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88618" y="1316567"/>
            <a:ext cx="5376332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713116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Partner, 2. Varian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10113600" y="5706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84000" y="5706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549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83121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24447158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772816"/>
            <a:ext cx="12192000" cy="864096"/>
          </a:xfrm>
        </p:spPr>
        <p:txBody>
          <a:bodyPr anchor="t"/>
          <a:lstStyle>
            <a:lvl1pPr algn="ctr">
              <a:defRPr sz="2800" b="1" cap="all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bschnittstitel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5E445CE-1711-44D1-8984-66585D322D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88640"/>
            <a:ext cx="12192000" cy="86409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03418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es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" y="332659"/>
            <a:ext cx="12191999" cy="8635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" y="1341438"/>
            <a:ext cx="12192649" cy="4391818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300"/>
              </a:spcAft>
              <a:buFontTx/>
              <a:buNone/>
              <a:defRPr sz="20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>
                <a:solidFill>
                  <a:schemeClr val="tx1"/>
                </a:solidFill>
              </a:defRPr>
            </a:lvl4pPr>
            <a:lvl5pPr marL="0" indent="0">
              <a:spcAft>
                <a:spcPts val="30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796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ohne Überg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" y="332659"/>
            <a:ext cx="12191999" cy="863536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0" y="1341438"/>
            <a:ext cx="12192000" cy="4391818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300"/>
              </a:spcAft>
              <a:buFontTx/>
              <a:buNone/>
              <a:defRPr sz="20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>
                <a:solidFill>
                  <a:schemeClr val="tx1"/>
                </a:solidFill>
              </a:defRPr>
            </a:lvl4pPr>
            <a:lvl5pPr marL="0" indent="0">
              <a:spcAft>
                <a:spcPts val="30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903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ohne Überg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6192012" y="1340767"/>
            <a:ext cx="5952661" cy="4391696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0" y="1340767"/>
            <a:ext cx="5999989" cy="4391696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6224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 und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39349" y="1340768"/>
            <a:ext cx="11617291" cy="863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6381331"/>
            <a:ext cx="2972215" cy="371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90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/Unter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3601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1980001"/>
            <a:chOff x="304800" y="-468001"/>
            <a:chExt cx="10891200" cy="1980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FB462B3-CEB1-499F-9A93-54BFC478E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6401" y="6984001"/>
            <a:ext cx="7375299" cy="216000"/>
          </a:xfrm>
        </p:spPr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AD5C655-E4E0-43F9-B6D2-6069D0E19D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883778" y="6984001"/>
            <a:ext cx="1899711" cy="216000"/>
          </a:xfrm>
        </p:spPr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C76965CB-8BC6-40F7-9EE1-139D5916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2" name="Vertikaler Textplatzhalter 2">
            <a:extLst>
              <a:ext uri="{FF2B5EF4-FFF2-40B4-BE49-F238E27FC236}">
                <a16:creationId xmlns:a16="http://schemas.microsoft.com/office/drawing/2014/main" id="{33F9B68E-1F14-4F70-9B07-D77470E5CBEB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1386000" y="5311011"/>
            <a:ext cx="10397484" cy="79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lang="de-DE" sz="2400" b="1" i="0" u="none" strike="noStrike" baseline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Thema des Referats Thema des Referats Thema des Referats Thema des Referats </a:t>
            </a:r>
          </a:p>
        </p:txBody>
      </p:sp>
      <p:sp>
        <p:nvSpPr>
          <p:cNvPr id="23" name="Vertikaler Textplatzhalter 2">
            <a:extLst>
              <a:ext uri="{FF2B5EF4-FFF2-40B4-BE49-F238E27FC236}">
                <a16:creationId xmlns:a16="http://schemas.microsoft.com/office/drawing/2014/main" id="{6354D33E-28C2-47F2-851F-773C0FE0AB9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1386000" y="6372000"/>
            <a:ext cx="10397489" cy="25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de-DE" dirty="0"/>
              <a:t>HHN | Simon Berger |  TP3 – Wirksamkeitsnachweis UVC-basierter Inaktivierung von SARS-CoV2 |  11.12.2020</a:t>
            </a:r>
          </a:p>
        </p:txBody>
      </p:sp>
      <p:pic>
        <p:nvPicPr>
          <p:cNvPr id="17" name="Logo HHN">
            <a:extLst>
              <a:ext uri="{FF2B5EF4-FFF2-40B4-BE49-F238E27FC236}">
                <a16:creationId xmlns:a16="http://schemas.microsoft.com/office/drawing/2014/main" id="{C84B1A6D-3DF8-4F58-88C7-3F544E41EF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0066C18D-46D1-4FD0-B624-24CB6294D971}"/>
              </a:ext>
            </a:extLst>
          </p:cNvPr>
          <p:cNvSpPr>
            <a:spLocks noGrp="1" noChangeAspect="1"/>
          </p:cNvSpPr>
          <p:nvPr>
            <p:ph type="body" orient="vert" idx="21" hasCustomPrompt="1"/>
          </p:nvPr>
        </p:nvSpPr>
        <p:spPr>
          <a:xfrm>
            <a:off x="1152000" y="4904882"/>
            <a:ext cx="128025" cy="20484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none" tIns="7200" rIns="2574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Bitte nicht</a:t>
            </a:r>
            <a:br>
              <a:rPr lang="de-DE" dirty="0"/>
            </a:br>
            <a:r>
              <a:rPr lang="de-DE" dirty="0"/>
              <a:t>verschieben</a:t>
            </a:r>
          </a:p>
        </p:txBody>
      </p:sp>
    </p:spTree>
    <p:extLst>
      <p:ext uri="{BB962C8B-B14F-4D97-AF65-F5344CB8AC3E}">
        <p14:creationId xmlns:p14="http://schemas.microsoft.com/office/powerpoint/2010/main" val="1584408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>
          <p15:clr>
            <a:srgbClr val="FBAE40"/>
          </p15:clr>
        </p15:guide>
        <p15:guide id="2" orient="horz" pos="78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8013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7" name="Logo HHN">
            <a:extLst>
              <a:ext uri="{FF2B5EF4-FFF2-40B4-BE49-F238E27FC236}">
                <a16:creationId xmlns:a16="http://schemas.microsoft.com/office/drawing/2014/main" id="{0D523BEA-89A6-4B17-B26B-DE39D28062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1F5623E0-8437-4337-9981-520C5E63F5F5}"/>
              </a:ext>
            </a:extLst>
          </p:cNvPr>
          <p:cNvSpPr>
            <a:spLocks noGrp="1" noChangeAspect="1"/>
          </p:cNvSpPr>
          <p:nvPr>
            <p:ph type="body" orient="vert" idx="13" hasCustomPrompt="1"/>
          </p:nvPr>
        </p:nvSpPr>
        <p:spPr>
          <a:xfrm>
            <a:off x="1026073" y="4914407"/>
            <a:ext cx="180000" cy="288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Bitte nicht</a:t>
            </a:r>
            <a:br>
              <a:rPr lang="de-DE" dirty="0"/>
            </a:br>
            <a:r>
              <a:rPr lang="de-DE" dirty="0"/>
              <a:t>verschieben</a:t>
            </a:r>
          </a:p>
        </p:txBody>
      </p:sp>
      <p:sp>
        <p:nvSpPr>
          <p:cNvPr id="20" name="Foliennummernplatzhalter 10">
            <a:extLst>
              <a:ext uri="{FF2B5EF4-FFF2-40B4-BE49-F238E27FC236}">
                <a16:creationId xmlns:a16="http://schemas.microsoft.com/office/drawing/2014/main" id="{F1B52C2C-34E9-4D95-8194-0BDCF58A8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6401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>
          <p15:clr>
            <a:srgbClr val="FBAE40"/>
          </p15:clr>
        </p15:guide>
        <p15:guide id="2" orient="horz" pos="78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INSTITUTS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-359999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7484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0"/>
            <a:chExt cx="10891200" cy="7668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0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3E29E0E6-E9A4-45BD-AC05-6A30C96DF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24" name="Vertikaler Textplatzhalter 2">
            <a:extLst>
              <a:ext uri="{FF2B5EF4-FFF2-40B4-BE49-F238E27FC236}">
                <a16:creationId xmlns:a16="http://schemas.microsoft.com/office/drawing/2014/main" id="{F57B46E9-4640-4F5B-9593-5773681046DA}"/>
              </a:ext>
            </a:extLst>
          </p:cNvPr>
          <p:cNvSpPr>
            <a:spLocks noGrp="1" noChangeAspect="1"/>
          </p:cNvSpPr>
          <p:nvPr>
            <p:ph type="body" orient="vert" idx="20" hasCustomPrompt="1"/>
          </p:nvPr>
        </p:nvSpPr>
        <p:spPr>
          <a:xfrm>
            <a:off x="1026000" y="4914406"/>
            <a:ext cx="180000" cy="288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Bitte nicht</a:t>
            </a:r>
            <a:br>
              <a:rPr lang="de-DE" dirty="0"/>
            </a:br>
            <a:r>
              <a:rPr lang="de-DE" dirty="0"/>
              <a:t>verschieb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54A18A00-C4DE-4EFB-897C-5FA7DAA4A4D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07200" y="30531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PLATZHALTER INSTITUTS-LOGO über den Button Bild einfügen Logo laden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BA0EB51-026E-42B4-8C5C-5B7C35506F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22400" y="30470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PLATZHALTER INSTITUTS-LOGO über den Button Bild einfügen Logo laden </a:t>
            </a:r>
          </a:p>
        </p:txBody>
      </p:sp>
      <p:sp>
        <p:nvSpPr>
          <p:cNvPr id="22" name="Foliennummernplatzhalter 10">
            <a:extLst>
              <a:ext uri="{FF2B5EF4-FFF2-40B4-BE49-F238E27FC236}">
                <a16:creationId xmlns:a16="http://schemas.microsoft.com/office/drawing/2014/main" id="{6548D90A-54FB-4C5B-81B4-F47C54D4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8237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>
          <p15:clr>
            <a:srgbClr val="FBAE40"/>
          </p15:clr>
        </p15:guide>
        <p15:guide id="2" orient="horz" pos="78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016214" y="1316567"/>
            <a:ext cx="3648737" cy="4512733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678518" y="357718"/>
            <a:ext cx="9986433" cy="383116"/>
          </a:xfrm>
        </p:spPr>
        <p:txBody>
          <a:bodyPr anchor="ctr" anchorCtr="0"/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050" y="1316567"/>
            <a:ext cx="7105121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955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7085" y="3768205"/>
            <a:ext cx="11056403" cy="1531425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5201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7081" y="5399999"/>
            <a:ext cx="11056403" cy="288000"/>
          </a:xfrm>
        </p:spPr>
        <p:txBody>
          <a:bodyPr/>
          <a:lstStyle>
            <a:lvl1pPr>
              <a:defRPr sz="1500" b="1" spc="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8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9" name="Logo HHN">
            <a:extLst>
              <a:ext uri="{FF2B5EF4-FFF2-40B4-BE49-F238E27FC236}">
                <a16:creationId xmlns:a16="http://schemas.microsoft.com/office/drawing/2014/main" id="{89C540CF-8626-4B8A-AECD-DE59103C58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8874" y="305319"/>
            <a:ext cx="2064615" cy="697187"/>
          </a:xfrm>
          <a:prstGeom prst="rect">
            <a:avLst/>
          </a:prstGeom>
        </p:spPr>
      </p:pic>
      <p:pic>
        <p:nvPicPr>
          <p:cNvPr id="21" name="Pfeil">
            <a:extLst>
              <a:ext uri="{FF2B5EF4-FFF2-40B4-BE49-F238E27FC236}">
                <a16:creationId xmlns:a16="http://schemas.microsoft.com/office/drawing/2014/main" id="{9B7553C5-A51D-4F5E-A635-F506117CD78D}"/>
              </a:ext>
            </a:extLst>
          </p:cNvPr>
          <p:cNvPicPr preferRelativeResize="0"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0" y="3943332"/>
            <a:ext cx="180000" cy="288000"/>
          </a:xfrm>
          <a:prstGeom prst="rect">
            <a:avLst/>
          </a:prstGeom>
        </p:spPr>
      </p:pic>
      <p:sp>
        <p:nvSpPr>
          <p:cNvPr id="23" name="Foliennummernplatzhalter 10">
            <a:extLst>
              <a:ext uri="{FF2B5EF4-FFF2-40B4-BE49-F238E27FC236}">
                <a16:creationId xmlns:a16="http://schemas.microsoft.com/office/drawing/2014/main" id="{24F3020E-5E4D-4241-944A-A34A6AA4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9806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0728" y="2160001"/>
            <a:ext cx="10252761" cy="153142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48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TRENNERSEI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1530728" y="3905249"/>
            <a:ext cx="10252761" cy="2338391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Zusatz Info</a:t>
            </a:r>
          </a:p>
        </p:txBody>
      </p:sp>
      <p:grpSp>
        <p:nvGrpSpPr>
          <p:cNvPr id="14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7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9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04368BE0-163A-441F-AAC7-4D3A9B1541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pic>
        <p:nvPicPr>
          <p:cNvPr id="23" name="Pfeil">
            <a:extLst>
              <a:ext uri="{FF2B5EF4-FFF2-40B4-BE49-F238E27FC236}">
                <a16:creationId xmlns:a16="http://schemas.microsoft.com/office/drawing/2014/main" id="{BDD3B1C6-5D65-4396-8DAA-35F5FC78C81C}"/>
              </a:ext>
            </a:extLst>
          </p:cNvPr>
          <p:cNvPicPr preferRelativeResize="0"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000" y="2376000"/>
            <a:ext cx="180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1244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B166E63-50B0-4138-AD32-6428E7F6058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6405" y="2033591"/>
            <a:ext cx="11377084" cy="4210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4C54CEDB-6CCB-4F16-884D-35B293E4D8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29228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1"/>
            <a:ext cx="11377084" cy="223188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406400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265901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8125404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47CDCA2B-FA4C-47AB-92AE-D822617B09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04185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2"/>
            <a:ext cx="7128933" cy="4209936"/>
          </a:xfrm>
        </p:spPr>
        <p:txBody>
          <a:bodyPr vert="horz"/>
          <a:lstStyle>
            <a:lvl3pPr>
              <a:defRPr/>
            </a:lvl3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7920568" y="2097883"/>
            <a:ext cx="3862917" cy="3960020"/>
          </a:xfr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B41B016-5782-4857-A9C3-6DC71BC44D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9041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47">
          <p15:clr>
            <a:srgbClr val="FBAE40"/>
          </p15:clr>
        </p15:guide>
        <p15:guide id="2" pos="4989">
          <p15:clr>
            <a:srgbClr val="FBAE40"/>
          </p15:clr>
        </p15:guide>
        <p15:guide id="3" orient="horz" pos="381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5" y="971550"/>
            <a:ext cx="12191999" cy="5886450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r>
              <a:rPr lang="de-DE" dirty="0"/>
              <a:t>Bild einfügen &gt;&gt; Menü &gt; Einfügen &gt; Bilder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0" y="971552"/>
            <a:ext cx="12192000" cy="588644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1954800" tIns="1389600" rIns="1501200"/>
          <a:lstStyle>
            <a:lvl1pPr>
              <a:lnSpc>
                <a:spcPct val="108000"/>
              </a:lnSpc>
              <a:spcAft>
                <a:spcPts val="0"/>
              </a:spcAft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Zitat auf erster Ebene // für Autor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-2352000" y="-468000"/>
            <a:ext cx="17280000" cy="7668001"/>
            <a:chOff x="-1764000" y="-468001"/>
            <a:chExt cx="129600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Text // Listenebene erhöhen"/>
            <p:cNvSpPr txBox="1"/>
            <p:nvPr userDrawn="1"/>
          </p:nvSpPr>
          <p:spPr>
            <a:xfrm>
              <a:off x="-1764000" y="3042062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9" name="Text // Listenebene verringern"/>
            <p:cNvSpPr txBox="1"/>
            <p:nvPr userDrawn="1"/>
          </p:nvSpPr>
          <p:spPr>
            <a:xfrm>
              <a:off x="-1764000" y="3438062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0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21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792000" y="3438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792000" y="3042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4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6" name="Logo HHN">
            <a:extLst>
              <a:ext uri="{FF2B5EF4-FFF2-40B4-BE49-F238E27FC236}">
                <a16:creationId xmlns:a16="http://schemas.microsoft.com/office/drawing/2014/main" id="{CD8A692E-F6AC-4E01-99E6-965C59B26C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sp>
        <p:nvSpPr>
          <p:cNvPr id="28" name="Titel 9">
            <a:extLst>
              <a:ext uri="{FF2B5EF4-FFF2-40B4-BE49-F238E27FC236}">
                <a16:creationId xmlns:a16="http://schemas.microsoft.com/office/drawing/2014/main" id="{806AA2DC-065A-4166-A62B-2A250A3B3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4080"/>
            <a:ext cx="1321200" cy="1119600"/>
          </a:xfrm>
          <a:blipFill>
            <a:blip r:embed="rId6"/>
            <a:stretch>
              <a:fillRect/>
            </a:stretch>
          </a:blipFill>
        </p:spPr>
        <p:txBody>
          <a:bodyPr wrap="none" rIns="1454400" anchor="t" anchorCtr="0"/>
          <a:lstStyle>
            <a:lvl1pPr algn="r">
              <a:defRPr sz="1000" baseline="0"/>
            </a:lvl1pPr>
          </a:lstStyle>
          <a:p>
            <a:r>
              <a:rPr lang="pt-BR" dirty="0"/>
              <a:t>Bitte nicht</a:t>
            </a:r>
            <a:br>
              <a:rPr lang="pt-BR" dirty="0"/>
            </a:br>
            <a:r>
              <a:rPr lang="pt-BR" dirty="0"/>
              <a:t>verschieb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8788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0"/>
            <a:ext cx="11377084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5592519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 hasCustomPrompt="1"/>
          </p:nvPr>
        </p:nvSpPr>
        <p:spPr>
          <a:xfrm>
            <a:off x="6192002" y="2565404"/>
            <a:ext cx="5591487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8369703-CD98-4130-BCC8-8023409F98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010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0"/>
            <a:ext cx="11377085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11377084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27F92EAB-A6D1-46FA-8EF7-FDBA5D316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896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071D8-9D4F-4737-9753-5A4E0952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435BC4A2-C234-4601-9C23-4E5237C3A3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13407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2088000" y="4284000"/>
            <a:ext cx="9695489" cy="1959639"/>
          </a:xfrm>
        </p:spPr>
        <p:txBody>
          <a:bodyPr vert="horz"/>
          <a:lstStyle>
            <a:lvl1pPr marL="0" marR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ei Fragen kontaktieren Sie bitte:</a:t>
            </a:r>
            <a:br>
              <a:rPr lang="de-DE" dirty="0"/>
            </a:br>
            <a:r>
              <a:rPr lang="de-DE" dirty="0"/>
              <a:t>Vorname Nachname (Menü &gt; Listenebne erhöhen)</a:t>
            </a:r>
            <a:br>
              <a:rPr lang="de-DE" dirty="0"/>
            </a:br>
            <a:r>
              <a:rPr lang="de-DE" dirty="0"/>
              <a:t>Fakultät XY | Fachrichtung </a:t>
            </a:r>
            <a:br>
              <a:rPr lang="de-DE" dirty="0"/>
            </a:br>
            <a:r>
              <a:rPr lang="de-DE" dirty="0"/>
              <a:t>meike.muster@hs-heilbronn.de</a:t>
            </a:r>
          </a:p>
        </p:txBody>
      </p:sp>
      <p:sp>
        <p:nvSpPr>
          <p:cNvPr id="12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2087996" y="2097092"/>
            <a:ext cx="9695489" cy="1915337"/>
          </a:xfrm>
        </p:spPr>
        <p:txBody>
          <a:bodyPr vert="horz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30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Schlusswort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CE84AFA-A866-402D-A07B-4A22F5614A5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76000" y="4716000"/>
            <a:ext cx="1080000" cy="1080000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698621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und 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0" y="5541434"/>
            <a:ext cx="11137900" cy="575733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ildunterzeile hinzufügen</a:t>
            </a:r>
          </a:p>
        </p:txBody>
      </p:sp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27051" y="1316567"/>
            <a:ext cx="11137900" cy="4032647"/>
          </a:xfrm>
        </p:spPr>
        <p:txBody>
          <a:bodyPr/>
          <a:lstStyle>
            <a:lvl1pPr>
              <a:defRPr sz="4000"/>
            </a:lvl1pPr>
          </a:lstStyle>
          <a:p>
            <a:endParaRPr lang="de-DE" dirty="0"/>
          </a:p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887799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1476" y="340151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Hochschule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München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University </a:t>
            </a:r>
            <a:r>
              <a:rPr lang="de-DE" sz="1450" dirty="0" err="1"/>
              <a:t>of</a:t>
            </a:r>
            <a:endParaRPr lang="de-DE" sz="1450" dirty="0"/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Applied Science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1476" y="1400400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CENERGI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orschungsinstitut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ür</a:t>
            </a:r>
            <a:r>
              <a:rPr lang="de-DE" sz="1450" baseline="0" dirty="0"/>
              <a:t> energieeffizient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baseline="0" dirty="0"/>
              <a:t>Gebäude und Quartiere</a:t>
            </a:r>
            <a:endParaRPr lang="de-DE" sz="1450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55E28E2-1998-4876-9AAD-4F813257A0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4800" y="324000"/>
            <a:ext cx="5724524" cy="2771774"/>
          </a:xfrm>
        </p:spPr>
        <p:txBody>
          <a:bodyPr anchor="t"/>
          <a:lstStyle>
            <a:lvl1pPr algn="l">
              <a:lnSpc>
                <a:spcPct val="97000"/>
              </a:lnSpc>
              <a:defRPr sz="2200" b="0" baseline="0"/>
            </a:lvl1pPr>
          </a:lstStyle>
          <a:p>
            <a:r>
              <a:rPr lang="de-DE" dirty="0"/>
              <a:t>Überschrift (fett)</a:t>
            </a:r>
            <a:br>
              <a:rPr lang="de-DE" dirty="0"/>
            </a:br>
            <a:r>
              <a:rPr lang="de-DE" b="0" dirty="0"/>
              <a:t>Unterüberschrift</a:t>
            </a:r>
            <a:br>
              <a:rPr lang="de-DE" b="0" dirty="0"/>
            </a:br>
            <a:br>
              <a:rPr lang="de-DE" b="0" dirty="0"/>
            </a:br>
            <a:r>
              <a:rPr lang="de-DE" b="0" dirty="0"/>
              <a:t>Veranstaltung (Schriftgröße 20)</a:t>
            </a:r>
            <a:br>
              <a:rPr lang="de-DE" b="0" dirty="0"/>
            </a:br>
            <a:br>
              <a:rPr lang="de-DE" b="0" dirty="0"/>
            </a:br>
            <a:r>
              <a:rPr lang="de-DE" sz="2000" b="0" dirty="0"/>
              <a:t>Datum/Autor (Schriftgröße 14,5)</a:t>
            </a:r>
          </a:p>
        </p:txBody>
      </p:sp>
      <p:grpSp>
        <p:nvGrpSpPr>
          <p:cNvPr id="9" name="Group 10">
            <a:extLst>
              <a:ext uri="{FF2B5EF4-FFF2-40B4-BE49-F238E27FC236}">
                <a16:creationId xmlns:a16="http://schemas.microsoft.com/office/drawing/2014/main" id="{880AF8DE-3DFF-4716-B7EB-1E1FD84F0F1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70329" y="5034757"/>
            <a:ext cx="3942557" cy="1456532"/>
            <a:chOff x="225" y="2270"/>
            <a:chExt cx="4967" cy="1835"/>
          </a:xfrm>
        </p:grpSpPr>
        <p:sp>
          <p:nvSpPr>
            <p:cNvPr id="10" name="AutoShape 9">
              <a:extLst>
                <a:ext uri="{FF2B5EF4-FFF2-40B4-BE49-F238E27FC236}">
                  <a16:creationId xmlns:a16="http://schemas.microsoft.com/office/drawing/2014/main" id="{B46A01CC-898C-4005-A5DC-47427EEE05DC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25" y="2270"/>
              <a:ext cx="4967" cy="1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A353ACD0-ECD5-4254-8D28-E8689AD3C6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" y="2270"/>
              <a:ext cx="1507" cy="1825"/>
            </a:xfrm>
            <a:custGeom>
              <a:avLst/>
              <a:gdLst>
                <a:gd name="T0" fmla="*/ 1285 w 1507"/>
                <a:gd name="T1" fmla="*/ 805 h 1825"/>
                <a:gd name="T2" fmla="*/ 223 w 1507"/>
                <a:gd name="T3" fmla="*/ 805 h 1825"/>
                <a:gd name="T4" fmla="*/ 223 w 1507"/>
                <a:gd name="T5" fmla="*/ 0 h 1825"/>
                <a:gd name="T6" fmla="*/ 0 w 1507"/>
                <a:gd name="T7" fmla="*/ 0 h 1825"/>
                <a:gd name="T8" fmla="*/ 0 w 1507"/>
                <a:gd name="T9" fmla="*/ 1825 h 1825"/>
                <a:gd name="T10" fmla="*/ 223 w 1507"/>
                <a:gd name="T11" fmla="*/ 1825 h 1825"/>
                <a:gd name="T12" fmla="*/ 223 w 1507"/>
                <a:gd name="T13" fmla="*/ 998 h 1825"/>
                <a:gd name="T14" fmla="*/ 1285 w 1507"/>
                <a:gd name="T15" fmla="*/ 998 h 1825"/>
                <a:gd name="T16" fmla="*/ 1285 w 1507"/>
                <a:gd name="T17" fmla="*/ 1825 h 1825"/>
                <a:gd name="T18" fmla="*/ 1507 w 1507"/>
                <a:gd name="T19" fmla="*/ 1825 h 1825"/>
                <a:gd name="T20" fmla="*/ 1507 w 1507"/>
                <a:gd name="T21" fmla="*/ 0 h 1825"/>
                <a:gd name="T22" fmla="*/ 1285 w 1507"/>
                <a:gd name="T23" fmla="*/ 0 h 1825"/>
                <a:gd name="T24" fmla="*/ 1285 w 1507"/>
                <a:gd name="T25" fmla="*/ 805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7" h="1825">
                  <a:moveTo>
                    <a:pt x="1285" y="805"/>
                  </a:moveTo>
                  <a:lnTo>
                    <a:pt x="223" y="805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23" y="1825"/>
                  </a:lnTo>
                  <a:lnTo>
                    <a:pt x="223" y="998"/>
                  </a:lnTo>
                  <a:lnTo>
                    <a:pt x="1285" y="998"/>
                  </a:lnTo>
                  <a:lnTo>
                    <a:pt x="1285" y="1825"/>
                  </a:lnTo>
                  <a:lnTo>
                    <a:pt x="1507" y="1825"/>
                  </a:lnTo>
                  <a:lnTo>
                    <a:pt x="1507" y="0"/>
                  </a:lnTo>
                  <a:lnTo>
                    <a:pt x="1285" y="0"/>
                  </a:lnTo>
                  <a:lnTo>
                    <a:pt x="1285" y="805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C72253F6-4D84-4F58-B41B-9F894157ED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0" y="2270"/>
              <a:ext cx="1804" cy="1825"/>
            </a:xfrm>
            <a:custGeom>
              <a:avLst/>
              <a:gdLst>
                <a:gd name="T0" fmla="*/ 912 w 1804"/>
                <a:gd name="T1" fmla="*/ 1546 h 1825"/>
                <a:gd name="T2" fmla="*/ 912 w 1804"/>
                <a:gd name="T3" fmla="*/ 1546 h 1825"/>
                <a:gd name="T4" fmla="*/ 339 w 1804"/>
                <a:gd name="T5" fmla="*/ 0 h 1825"/>
                <a:gd name="T6" fmla="*/ 0 w 1804"/>
                <a:gd name="T7" fmla="*/ 0 h 1825"/>
                <a:gd name="T8" fmla="*/ 0 w 1804"/>
                <a:gd name="T9" fmla="*/ 1825 h 1825"/>
                <a:gd name="T10" fmla="*/ 212 w 1804"/>
                <a:gd name="T11" fmla="*/ 1825 h 1825"/>
                <a:gd name="T12" fmla="*/ 212 w 1804"/>
                <a:gd name="T13" fmla="*/ 225 h 1825"/>
                <a:gd name="T14" fmla="*/ 212 w 1804"/>
                <a:gd name="T15" fmla="*/ 225 h 1825"/>
                <a:gd name="T16" fmla="*/ 817 w 1804"/>
                <a:gd name="T17" fmla="*/ 1825 h 1825"/>
                <a:gd name="T18" fmla="*/ 987 w 1804"/>
                <a:gd name="T19" fmla="*/ 1825 h 1825"/>
                <a:gd name="T20" fmla="*/ 1592 w 1804"/>
                <a:gd name="T21" fmla="*/ 225 h 1825"/>
                <a:gd name="T22" fmla="*/ 1602 w 1804"/>
                <a:gd name="T23" fmla="*/ 225 h 1825"/>
                <a:gd name="T24" fmla="*/ 1602 w 1804"/>
                <a:gd name="T25" fmla="*/ 1825 h 1825"/>
                <a:gd name="T26" fmla="*/ 1804 w 1804"/>
                <a:gd name="T27" fmla="*/ 1825 h 1825"/>
                <a:gd name="T28" fmla="*/ 1804 w 1804"/>
                <a:gd name="T29" fmla="*/ 0 h 1825"/>
                <a:gd name="T30" fmla="*/ 1485 w 1804"/>
                <a:gd name="T31" fmla="*/ 0 h 1825"/>
                <a:gd name="T32" fmla="*/ 912 w 1804"/>
                <a:gd name="T33" fmla="*/ 1546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4" h="1825">
                  <a:moveTo>
                    <a:pt x="912" y="1546"/>
                  </a:moveTo>
                  <a:lnTo>
                    <a:pt x="912" y="1546"/>
                  </a:lnTo>
                  <a:lnTo>
                    <a:pt x="339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12" y="1825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817" y="1825"/>
                  </a:lnTo>
                  <a:lnTo>
                    <a:pt x="987" y="1825"/>
                  </a:lnTo>
                  <a:lnTo>
                    <a:pt x="1592" y="225"/>
                  </a:lnTo>
                  <a:lnTo>
                    <a:pt x="1602" y="225"/>
                  </a:lnTo>
                  <a:lnTo>
                    <a:pt x="1602" y="1825"/>
                  </a:lnTo>
                  <a:lnTo>
                    <a:pt x="1804" y="1825"/>
                  </a:lnTo>
                  <a:lnTo>
                    <a:pt x="1804" y="0"/>
                  </a:lnTo>
                  <a:lnTo>
                    <a:pt x="1485" y="0"/>
                  </a:lnTo>
                  <a:lnTo>
                    <a:pt x="912" y="1546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F3C28C25-3152-A749-87F5-10C3BDD4E0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077" y="3694554"/>
            <a:ext cx="2839594" cy="2839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0131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2">
            <a:extLst>
              <a:ext uri="{FF2B5EF4-FFF2-40B4-BE49-F238E27FC236}">
                <a16:creationId xmlns:a16="http://schemas.microsoft.com/office/drawing/2014/main" id="{CF871BE6-3E0D-46C2-933C-D3A3DBCFD8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145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grpSp>
        <p:nvGrpSpPr>
          <p:cNvPr id="3" name="Group 10">
            <a:extLst>
              <a:ext uri="{FF2B5EF4-FFF2-40B4-BE49-F238E27FC236}">
                <a16:creationId xmlns:a16="http://schemas.microsoft.com/office/drawing/2014/main" id="{880AF8DE-3DFF-4716-B7EB-1E1FD84F0F1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70329" y="5767782"/>
            <a:ext cx="1971278" cy="728266"/>
            <a:chOff x="225" y="2270"/>
            <a:chExt cx="4967" cy="1835"/>
          </a:xfrm>
        </p:grpSpPr>
        <p:sp>
          <p:nvSpPr>
            <p:cNvPr id="4" name="AutoShape 9">
              <a:extLst>
                <a:ext uri="{FF2B5EF4-FFF2-40B4-BE49-F238E27FC236}">
                  <a16:creationId xmlns:a16="http://schemas.microsoft.com/office/drawing/2014/main" id="{B46A01CC-898C-4005-A5DC-47427EEE05DC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25" y="2270"/>
              <a:ext cx="4967" cy="1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A353ACD0-ECD5-4254-8D28-E8689AD3C6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" y="2270"/>
              <a:ext cx="1507" cy="1825"/>
            </a:xfrm>
            <a:custGeom>
              <a:avLst/>
              <a:gdLst>
                <a:gd name="T0" fmla="*/ 1285 w 1507"/>
                <a:gd name="T1" fmla="*/ 805 h 1825"/>
                <a:gd name="T2" fmla="*/ 223 w 1507"/>
                <a:gd name="T3" fmla="*/ 805 h 1825"/>
                <a:gd name="T4" fmla="*/ 223 w 1507"/>
                <a:gd name="T5" fmla="*/ 0 h 1825"/>
                <a:gd name="T6" fmla="*/ 0 w 1507"/>
                <a:gd name="T7" fmla="*/ 0 h 1825"/>
                <a:gd name="T8" fmla="*/ 0 w 1507"/>
                <a:gd name="T9" fmla="*/ 1825 h 1825"/>
                <a:gd name="T10" fmla="*/ 223 w 1507"/>
                <a:gd name="T11" fmla="*/ 1825 h 1825"/>
                <a:gd name="T12" fmla="*/ 223 w 1507"/>
                <a:gd name="T13" fmla="*/ 998 h 1825"/>
                <a:gd name="T14" fmla="*/ 1285 w 1507"/>
                <a:gd name="T15" fmla="*/ 998 h 1825"/>
                <a:gd name="T16" fmla="*/ 1285 w 1507"/>
                <a:gd name="T17" fmla="*/ 1825 h 1825"/>
                <a:gd name="T18" fmla="*/ 1507 w 1507"/>
                <a:gd name="T19" fmla="*/ 1825 h 1825"/>
                <a:gd name="T20" fmla="*/ 1507 w 1507"/>
                <a:gd name="T21" fmla="*/ 0 h 1825"/>
                <a:gd name="T22" fmla="*/ 1285 w 1507"/>
                <a:gd name="T23" fmla="*/ 0 h 1825"/>
                <a:gd name="T24" fmla="*/ 1285 w 1507"/>
                <a:gd name="T25" fmla="*/ 805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7" h="1825">
                  <a:moveTo>
                    <a:pt x="1285" y="805"/>
                  </a:moveTo>
                  <a:lnTo>
                    <a:pt x="223" y="805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23" y="1825"/>
                  </a:lnTo>
                  <a:lnTo>
                    <a:pt x="223" y="998"/>
                  </a:lnTo>
                  <a:lnTo>
                    <a:pt x="1285" y="998"/>
                  </a:lnTo>
                  <a:lnTo>
                    <a:pt x="1285" y="1825"/>
                  </a:lnTo>
                  <a:lnTo>
                    <a:pt x="1507" y="1825"/>
                  </a:lnTo>
                  <a:lnTo>
                    <a:pt x="1507" y="0"/>
                  </a:lnTo>
                  <a:lnTo>
                    <a:pt x="1285" y="0"/>
                  </a:lnTo>
                  <a:lnTo>
                    <a:pt x="1285" y="805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C72253F6-4D84-4F58-B41B-9F894157ED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0" y="2270"/>
              <a:ext cx="1804" cy="1825"/>
            </a:xfrm>
            <a:custGeom>
              <a:avLst/>
              <a:gdLst>
                <a:gd name="T0" fmla="*/ 912 w 1804"/>
                <a:gd name="T1" fmla="*/ 1546 h 1825"/>
                <a:gd name="T2" fmla="*/ 912 w 1804"/>
                <a:gd name="T3" fmla="*/ 1546 h 1825"/>
                <a:gd name="T4" fmla="*/ 339 w 1804"/>
                <a:gd name="T5" fmla="*/ 0 h 1825"/>
                <a:gd name="T6" fmla="*/ 0 w 1804"/>
                <a:gd name="T7" fmla="*/ 0 h 1825"/>
                <a:gd name="T8" fmla="*/ 0 w 1804"/>
                <a:gd name="T9" fmla="*/ 1825 h 1825"/>
                <a:gd name="T10" fmla="*/ 212 w 1804"/>
                <a:gd name="T11" fmla="*/ 1825 h 1825"/>
                <a:gd name="T12" fmla="*/ 212 w 1804"/>
                <a:gd name="T13" fmla="*/ 225 h 1825"/>
                <a:gd name="T14" fmla="*/ 212 w 1804"/>
                <a:gd name="T15" fmla="*/ 225 h 1825"/>
                <a:gd name="T16" fmla="*/ 817 w 1804"/>
                <a:gd name="T17" fmla="*/ 1825 h 1825"/>
                <a:gd name="T18" fmla="*/ 987 w 1804"/>
                <a:gd name="T19" fmla="*/ 1825 h 1825"/>
                <a:gd name="T20" fmla="*/ 1592 w 1804"/>
                <a:gd name="T21" fmla="*/ 225 h 1825"/>
                <a:gd name="T22" fmla="*/ 1602 w 1804"/>
                <a:gd name="T23" fmla="*/ 225 h 1825"/>
                <a:gd name="T24" fmla="*/ 1602 w 1804"/>
                <a:gd name="T25" fmla="*/ 1825 h 1825"/>
                <a:gd name="T26" fmla="*/ 1804 w 1804"/>
                <a:gd name="T27" fmla="*/ 1825 h 1825"/>
                <a:gd name="T28" fmla="*/ 1804 w 1804"/>
                <a:gd name="T29" fmla="*/ 0 h 1825"/>
                <a:gd name="T30" fmla="*/ 1485 w 1804"/>
                <a:gd name="T31" fmla="*/ 0 h 1825"/>
                <a:gd name="T32" fmla="*/ 912 w 1804"/>
                <a:gd name="T33" fmla="*/ 1546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4" h="1825">
                  <a:moveTo>
                    <a:pt x="912" y="1546"/>
                  </a:moveTo>
                  <a:lnTo>
                    <a:pt x="912" y="1546"/>
                  </a:lnTo>
                  <a:lnTo>
                    <a:pt x="339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12" y="1825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817" y="1825"/>
                  </a:lnTo>
                  <a:lnTo>
                    <a:pt x="987" y="1825"/>
                  </a:lnTo>
                  <a:lnTo>
                    <a:pt x="1592" y="225"/>
                  </a:lnTo>
                  <a:lnTo>
                    <a:pt x="1602" y="225"/>
                  </a:lnTo>
                  <a:lnTo>
                    <a:pt x="1602" y="1825"/>
                  </a:lnTo>
                  <a:lnTo>
                    <a:pt x="1804" y="1825"/>
                  </a:lnTo>
                  <a:lnTo>
                    <a:pt x="1804" y="0"/>
                  </a:lnTo>
                  <a:lnTo>
                    <a:pt x="1485" y="0"/>
                  </a:lnTo>
                  <a:lnTo>
                    <a:pt x="912" y="1546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DD57D60D-0843-B349-8A70-3305B6103A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379" y="5060658"/>
            <a:ext cx="1431421" cy="1431421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1476" y="340151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Hochschule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München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University </a:t>
            </a:r>
            <a:r>
              <a:rPr lang="de-DE" sz="1450" dirty="0" err="1"/>
              <a:t>of</a:t>
            </a:r>
            <a:endParaRPr lang="de-DE" sz="1450" dirty="0"/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Applied Science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232800" y="342000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CENERGI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orschungsinstitut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ür</a:t>
            </a:r>
            <a:r>
              <a:rPr lang="de-DE" sz="1450" baseline="0" dirty="0"/>
              <a:t> energieeffizient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baseline="0" dirty="0"/>
              <a:t>Gebäude und Quartiere</a:t>
            </a:r>
            <a:endParaRPr lang="de-DE" sz="1450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55E28E2-1998-4876-9AAD-4F813257A0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0800" y="1915199"/>
            <a:ext cx="2631600" cy="2618163"/>
          </a:xfrm>
        </p:spPr>
        <p:txBody>
          <a:bodyPr anchor="t"/>
          <a:lstStyle>
            <a:lvl1pPr algn="l">
              <a:lnSpc>
                <a:spcPct val="97000"/>
              </a:lnSpc>
              <a:defRPr sz="2200" b="0" baseline="0"/>
            </a:lvl1pPr>
          </a:lstStyle>
          <a:p>
            <a:r>
              <a:rPr lang="de-DE" dirty="0"/>
              <a:t>Überschrift (fett)</a:t>
            </a:r>
            <a:br>
              <a:rPr lang="de-DE" dirty="0"/>
            </a:br>
            <a:r>
              <a:rPr lang="de-DE" b="0" dirty="0"/>
              <a:t>Unterüberschrift</a:t>
            </a:r>
            <a:br>
              <a:rPr lang="de-DE" b="0" dirty="0"/>
            </a:br>
            <a:br>
              <a:rPr lang="de-DE" b="0" dirty="0"/>
            </a:br>
            <a:r>
              <a:rPr lang="de-DE" b="0" dirty="0"/>
              <a:t>Veranstaltung (Schriftgröße 20)</a:t>
            </a:r>
            <a:br>
              <a:rPr lang="de-DE" b="0" dirty="0"/>
            </a:br>
            <a:br>
              <a:rPr lang="de-DE" b="0" dirty="0"/>
            </a:br>
            <a:r>
              <a:rPr lang="de-DE" sz="2000" b="0" dirty="0"/>
              <a:t>Datum/Autor (Schriftgröße 14,5)</a:t>
            </a:r>
          </a:p>
        </p:txBody>
      </p:sp>
    </p:spTree>
    <p:extLst>
      <p:ext uri="{BB962C8B-B14F-4D97-AF65-F5344CB8AC3E}">
        <p14:creationId xmlns:p14="http://schemas.microsoft.com/office/powerpoint/2010/main" val="1841593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2">
            <a:extLst>
              <a:ext uri="{FF2B5EF4-FFF2-40B4-BE49-F238E27FC236}">
                <a16:creationId xmlns:a16="http://schemas.microsoft.com/office/drawing/2014/main" id="{CF871BE6-3E0D-46C2-933C-D3A3DBCFD8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3429000"/>
          </a:xfr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1450"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7" name="Group 10">
            <a:extLst>
              <a:ext uri="{FF2B5EF4-FFF2-40B4-BE49-F238E27FC236}">
                <a16:creationId xmlns:a16="http://schemas.microsoft.com/office/drawing/2014/main" id="{4D80758A-7746-4986-A5B6-D83D1A96D44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70329" y="5767782"/>
            <a:ext cx="1971278" cy="728266"/>
            <a:chOff x="225" y="2270"/>
            <a:chExt cx="4967" cy="1835"/>
          </a:xfrm>
        </p:grpSpPr>
        <p:sp>
          <p:nvSpPr>
            <p:cNvPr id="8" name="AutoShape 9">
              <a:extLst>
                <a:ext uri="{FF2B5EF4-FFF2-40B4-BE49-F238E27FC236}">
                  <a16:creationId xmlns:a16="http://schemas.microsoft.com/office/drawing/2014/main" id="{FA987F16-66A9-4425-8156-69AA60DB86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25" y="2270"/>
              <a:ext cx="4967" cy="1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740A582B-99B7-495C-B19F-50F1005DA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" y="2270"/>
              <a:ext cx="1507" cy="1825"/>
            </a:xfrm>
            <a:custGeom>
              <a:avLst/>
              <a:gdLst>
                <a:gd name="T0" fmla="*/ 1285 w 1507"/>
                <a:gd name="T1" fmla="*/ 805 h 1825"/>
                <a:gd name="T2" fmla="*/ 223 w 1507"/>
                <a:gd name="T3" fmla="*/ 805 h 1825"/>
                <a:gd name="T4" fmla="*/ 223 w 1507"/>
                <a:gd name="T5" fmla="*/ 0 h 1825"/>
                <a:gd name="T6" fmla="*/ 0 w 1507"/>
                <a:gd name="T7" fmla="*/ 0 h 1825"/>
                <a:gd name="T8" fmla="*/ 0 w 1507"/>
                <a:gd name="T9" fmla="*/ 1825 h 1825"/>
                <a:gd name="T10" fmla="*/ 223 w 1507"/>
                <a:gd name="T11" fmla="*/ 1825 h 1825"/>
                <a:gd name="T12" fmla="*/ 223 w 1507"/>
                <a:gd name="T13" fmla="*/ 998 h 1825"/>
                <a:gd name="T14" fmla="*/ 1285 w 1507"/>
                <a:gd name="T15" fmla="*/ 998 h 1825"/>
                <a:gd name="T16" fmla="*/ 1285 w 1507"/>
                <a:gd name="T17" fmla="*/ 1825 h 1825"/>
                <a:gd name="T18" fmla="*/ 1507 w 1507"/>
                <a:gd name="T19" fmla="*/ 1825 h 1825"/>
                <a:gd name="T20" fmla="*/ 1507 w 1507"/>
                <a:gd name="T21" fmla="*/ 0 h 1825"/>
                <a:gd name="T22" fmla="*/ 1285 w 1507"/>
                <a:gd name="T23" fmla="*/ 0 h 1825"/>
                <a:gd name="T24" fmla="*/ 1285 w 1507"/>
                <a:gd name="T25" fmla="*/ 805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7" h="1825">
                  <a:moveTo>
                    <a:pt x="1285" y="805"/>
                  </a:moveTo>
                  <a:lnTo>
                    <a:pt x="223" y="805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23" y="1825"/>
                  </a:lnTo>
                  <a:lnTo>
                    <a:pt x="223" y="998"/>
                  </a:lnTo>
                  <a:lnTo>
                    <a:pt x="1285" y="998"/>
                  </a:lnTo>
                  <a:lnTo>
                    <a:pt x="1285" y="1825"/>
                  </a:lnTo>
                  <a:lnTo>
                    <a:pt x="1507" y="1825"/>
                  </a:lnTo>
                  <a:lnTo>
                    <a:pt x="1507" y="0"/>
                  </a:lnTo>
                  <a:lnTo>
                    <a:pt x="1285" y="0"/>
                  </a:lnTo>
                  <a:lnTo>
                    <a:pt x="1285" y="805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ADC1DFB6-B60E-4647-8E24-92F85B0866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0" y="2270"/>
              <a:ext cx="1804" cy="1825"/>
            </a:xfrm>
            <a:custGeom>
              <a:avLst/>
              <a:gdLst>
                <a:gd name="T0" fmla="*/ 912 w 1804"/>
                <a:gd name="T1" fmla="*/ 1546 h 1825"/>
                <a:gd name="T2" fmla="*/ 912 w 1804"/>
                <a:gd name="T3" fmla="*/ 1546 h 1825"/>
                <a:gd name="T4" fmla="*/ 339 w 1804"/>
                <a:gd name="T5" fmla="*/ 0 h 1825"/>
                <a:gd name="T6" fmla="*/ 0 w 1804"/>
                <a:gd name="T7" fmla="*/ 0 h 1825"/>
                <a:gd name="T8" fmla="*/ 0 w 1804"/>
                <a:gd name="T9" fmla="*/ 1825 h 1825"/>
                <a:gd name="T10" fmla="*/ 212 w 1804"/>
                <a:gd name="T11" fmla="*/ 1825 h 1825"/>
                <a:gd name="T12" fmla="*/ 212 w 1804"/>
                <a:gd name="T13" fmla="*/ 225 h 1825"/>
                <a:gd name="T14" fmla="*/ 212 w 1804"/>
                <a:gd name="T15" fmla="*/ 225 h 1825"/>
                <a:gd name="T16" fmla="*/ 817 w 1804"/>
                <a:gd name="T17" fmla="*/ 1825 h 1825"/>
                <a:gd name="T18" fmla="*/ 987 w 1804"/>
                <a:gd name="T19" fmla="*/ 1825 h 1825"/>
                <a:gd name="T20" fmla="*/ 1592 w 1804"/>
                <a:gd name="T21" fmla="*/ 225 h 1825"/>
                <a:gd name="T22" fmla="*/ 1602 w 1804"/>
                <a:gd name="T23" fmla="*/ 225 h 1825"/>
                <a:gd name="T24" fmla="*/ 1602 w 1804"/>
                <a:gd name="T25" fmla="*/ 1825 h 1825"/>
                <a:gd name="T26" fmla="*/ 1804 w 1804"/>
                <a:gd name="T27" fmla="*/ 1825 h 1825"/>
                <a:gd name="T28" fmla="*/ 1804 w 1804"/>
                <a:gd name="T29" fmla="*/ 0 h 1825"/>
                <a:gd name="T30" fmla="*/ 1485 w 1804"/>
                <a:gd name="T31" fmla="*/ 0 h 1825"/>
                <a:gd name="T32" fmla="*/ 912 w 1804"/>
                <a:gd name="T33" fmla="*/ 1546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4" h="1825">
                  <a:moveTo>
                    <a:pt x="912" y="1546"/>
                  </a:moveTo>
                  <a:lnTo>
                    <a:pt x="912" y="1546"/>
                  </a:lnTo>
                  <a:lnTo>
                    <a:pt x="339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12" y="1825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817" y="1825"/>
                  </a:lnTo>
                  <a:lnTo>
                    <a:pt x="987" y="1825"/>
                  </a:lnTo>
                  <a:lnTo>
                    <a:pt x="1592" y="225"/>
                  </a:lnTo>
                  <a:lnTo>
                    <a:pt x="1602" y="225"/>
                  </a:lnTo>
                  <a:lnTo>
                    <a:pt x="1602" y="1825"/>
                  </a:lnTo>
                  <a:lnTo>
                    <a:pt x="1804" y="1825"/>
                  </a:lnTo>
                  <a:lnTo>
                    <a:pt x="1804" y="0"/>
                  </a:lnTo>
                  <a:lnTo>
                    <a:pt x="1485" y="0"/>
                  </a:lnTo>
                  <a:lnTo>
                    <a:pt x="912" y="1546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58162A68-4076-4F2F-9FC0-1925BE736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104" y="5060658"/>
            <a:ext cx="1431421" cy="143142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0329" y="3638061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Hochschule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München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University </a:t>
            </a:r>
            <a:r>
              <a:rPr lang="de-DE" sz="1450" dirty="0" err="1"/>
              <a:t>of</a:t>
            </a:r>
            <a:endParaRPr lang="de-DE" sz="1450" dirty="0"/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Applied Science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0800" y="4698000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CENERGI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orschungsinstitut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ür</a:t>
            </a:r>
            <a:r>
              <a:rPr lang="de-DE" sz="1450" baseline="0" dirty="0"/>
              <a:t> energieeffizient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baseline="0" dirty="0"/>
              <a:t>Gebäude und Quartiere</a:t>
            </a:r>
            <a:endParaRPr lang="de-DE" sz="1450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955E28E2-1998-4876-9AAD-4F813257A0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9200" y="3643200"/>
            <a:ext cx="4179600" cy="1396800"/>
          </a:xfrm>
        </p:spPr>
        <p:txBody>
          <a:bodyPr anchor="t"/>
          <a:lstStyle>
            <a:lvl1pPr algn="l">
              <a:lnSpc>
                <a:spcPct val="97000"/>
              </a:lnSpc>
              <a:defRPr sz="2200" b="0" baseline="0"/>
            </a:lvl1pPr>
          </a:lstStyle>
          <a:p>
            <a:r>
              <a:rPr lang="de-DE" dirty="0"/>
              <a:t>Überschrift (fett)</a:t>
            </a:r>
            <a:br>
              <a:rPr lang="de-DE" dirty="0"/>
            </a:br>
            <a:r>
              <a:rPr lang="de-DE" b="0" dirty="0"/>
              <a:t>Unterüberschrift</a:t>
            </a:r>
            <a:br>
              <a:rPr lang="de-DE" b="0" dirty="0"/>
            </a:br>
            <a:br>
              <a:rPr lang="de-DE" b="0" dirty="0"/>
            </a:br>
            <a:r>
              <a:rPr lang="de-DE" b="0" dirty="0"/>
              <a:t>Veranstaltung (Schriftgröße 20)</a:t>
            </a:r>
            <a:br>
              <a:rPr lang="de-DE" b="0" dirty="0"/>
            </a:br>
            <a:br>
              <a:rPr lang="de-DE" b="0" dirty="0"/>
            </a:br>
            <a:r>
              <a:rPr lang="de-DE" sz="2000" b="0" dirty="0"/>
              <a:t>Datum/Autor (Schriftgröße 14,5)</a:t>
            </a:r>
          </a:p>
        </p:txBody>
      </p:sp>
    </p:spTree>
    <p:extLst>
      <p:ext uri="{BB962C8B-B14F-4D97-AF65-F5344CB8AC3E}">
        <p14:creationId xmlns:p14="http://schemas.microsoft.com/office/powerpoint/2010/main" val="362820456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092293-4770-4CA4-8113-0DFF4F856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5385"/>
            <a:ext cx="11449051" cy="893339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1EA2EC7-41FC-44DD-863C-7CFA3FD6D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459155"/>
            <a:ext cx="11449049" cy="4665127"/>
          </a:xfrm>
        </p:spPr>
        <p:txBody>
          <a:bodyPr/>
          <a:lstStyle>
            <a:lvl1pPr marL="180975" indent="-180975">
              <a:lnSpc>
                <a:spcPct val="110000"/>
              </a:lnSpc>
              <a:spcAft>
                <a:spcPts val="800"/>
              </a:spcAft>
              <a:defRPr sz="2200"/>
            </a:lvl1pPr>
            <a:lvl2pPr marL="447675" indent="-266700">
              <a:lnSpc>
                <a:spcPct val="110000"/>
              </a:lnSpc>
              <a:spcAft>
                <a:spcPts val="800"/>
              </a:spcAft>
              <a:defRPr sz="2200"/>
            </a:lvl2pPr>
            <a:lvl3pPr marL="717550" indent="-269875">
              <a:lnSpc>
                <a:spcPct val="110000"/>
              </a:lnSpc>
              <a:spcAft>
                <a:spcPts val="800"/>
              </a:spcAft>
              <a:defRPr sz="2200"/>
            </a:lvl3pPr>
            <a:lvl4pPr marL="989013" indent="-271463">
              <a:lnSpc>
                <a:spcPct val="110000"/>
              </a:lnSpc>
              <a:spcAft>
                <a:spcPts val="800"/>
              </a:spcAft>
              <a:defRPr sz="2200"/>
            </a:lvl4pPr>
            <a:lvl5pPr marL="1252538" indent="-263525">
              <a:lnSpc>
                <a:spcPct val="110000"/>
              </a:lnSpc>
              <a:spcAft>
                <a:spcPts val="800"/>
              </a:spcAft>
              <a:defRPr sz="22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95B3B89-E926-4129-B76F-D6C2F1344D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307637"/>
            <a:ext cx="997744" cy="368593"/>
          </a:xfrm>
          <a:prstGeom prst="rect">
            <a:avLst/>
          </a:prstGeom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1803400" y="6528962"/>
            <a:ext cx="3932238" cy="216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1803400" y="6307637"/>
            <a:ext cx="3932238" cy="227249"/>
          </a:xfrm>
        </p:spPr>
        <p:txBody>
          <a:bodyPr anchor="t"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10539307" y="6312962"/>
            <a:ext cx="1281217" cy="216000"/>
          </a:xfrm>
        </p:spPr>
        <p:txBody>
          <a:bodyPr/>
          <a:lstStyle/>
          <a:p>
            <a:fld id="{A13361CF-9A47-4C8C-A01E-566DC0626AC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3681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0">
            <a:extLst>
              <a:ext uri="{FF2B5EF4-FFF2-40B4-BE49-F238E27FC236}">
                <a16:creationId xmlns:a16="http://schemas.microsoft.com/office/drawing/2014/main" id="{26D2E7E9-74A2-49BB-8BAA-2E1EFB92F28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70329" y="5767782"/>
            <a:ext cx="1971278" cy="728266"/>
            <a:chOff x="225" y="2270"/>
            <a:chExt cx="4967" cy="1835"/>
          </a:xfrm>
        </p:grpSpPr>
        <p:sp>
          <p:nvSpPr>
            <p:cNvPr id="8" name="AutoShape 9">
              <a:extLst>
                <a:ext uri="{FF2B5EF4-FFF2-40B4-BE49-F238E27FC236}">
                  <a16:creationId xmlns:a16="http://schemas.microsoft.com/office/drawing/2014/main" id="{D46570F1-84A2-4649-BF09-F4965C9668F1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25" y="2270"/>
              <a:ext cx="4967" cy="1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634C2B41-F0A8-4879-B6E3-1459616658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" y="2270"/>
              <a:ext cx="1507" cy="1825"/>
            </a:xfrm>
            <a:custGeom>
              <a:avLst/>
              <a:gdLst>
                <a:gd name="T0" fmla="*/ 1285 w 1507"/>
                <a:gd name="T1" fmla="*/ 805 h 1825"/>
                <a:gd name="T2" fmla="*/ 223 w 1507"/>
                <a:gd name="T3" fmla="*/ 805 h 1825"/>
                <a:gd name="T4" fmla="*/ 223 w 1507"/>
                <a:gd name="T5" fmla="*/ 0 h 1825"/>
                <a:gd name="T6" fmla="*/ 0 w 1507"/>
                <a:gd name="T7" fmla="*/ 0 h 1825"/>
                <a:gd name="T8" fmla="*/ 0 w 1507"/>
                <a:gd name="T9" fmla="*/ 1825 h 1825"/>
                <a:gd name="T10" fmla="*/ 223 w 1507"/>
                <a:gd name="T11" fmla="*/ 1825 h 1825"/>
                <a:gd name="T12" fmla="*/ 223 w 1507"/>
                <a:gd name="T13" fmla="*/ 998 h 1825"/>
                <a:gd name="T14" fmla="*/ 1285 w 1507"/>
                <a:gd name="T15" fmla="*/ 998 h 1825"/>
                <a:gd name="T16" fmla="*/ 1285 w 1507"/>
                <a:gd name="T17" fmla="*/ 1825 h 1825"/>
                <a:gd name="T18" fmla="*/ 1507 w 1507"/>
                <a:gd name="T19" fmla="*/ 1825 h 1825"/>
                <a:gd name="T20" fmla="*/ 1507 w 1507"/>
                <a:gd name="T21" fmla="*/ 0 h 1825"/>
                <a:gd name="T22" fmla="*/ 1285 w 1507"/>
                <a:gd name="T23" fmla="*/ 0 h 1825"/>
                <a:gd name="T24" fmla="*/ 1285 w 1507"/>
                <a:gd name="T25" fmla="*/ 805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7" h="1825">
                  <a:moveTo>
                    <a:pt x="1285" y="805"/>
                  </a:moveTo>
                  <a:lnTo>
                    <a:pt x="223" y="805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23" y="1825"/>
                  </a:lnTo>
                  <a:lnTo>
                    <a:pt x="223" y="998"/>
                  </a:lnTo>
                  <a:lnTo>
                    <a:pt x="1285" y="998"/>
                  </a:lnTo>
                  <a:lnTo>
                    <a:pt x="1285" y="1825"/>
                  </a:lnTo>
                  <a:lnTo>
                    <a:pt x="1507" y="1825"/>
                  </a:lnTo>
                  <a:lnTo>
                    <a:pt x="1507" y="0"/>
                  </a:lnTo>
                  <a:lnTo>
                    <a:pt x="1285" y="0"/>
                  </a:lnTo>
                  <a:lnTo>
                    <a:pt x="1285" y="805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5FA85DE6-E426-4CC5-8295-A9E79243C8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0" y="2270"/>
              <a:ext cx="1804" cy="1825"/>
            </a:xfrm>
            <a:custGeom>
              <a:avLst/>
              <a:gdLst>
                <a:gd name="T0" fmla="*/ 912 w 1804"/>
                <a:gd name="T1" fmla="*/ 1546 h 1825"/>
                <a:gd name="T2" fmla="*/ 912 w 1804"/>
                <a:gd name="T3" fmla="*/ 1546 h 1825"/>
                <a:gd name="T4" fmla="*/ 339 w 1804"/>
                <a:gd name="T5" fmla="*/ 0 h 1825"/>
                <a:gd name="T6" fmla="*/ 0 w 1804"/>
                <a:gd name="T7" fmla="*/ 0 h 1825"/>
                <a:gd name="T8" fmla="*/ 0 w 1804"/>
                <a:gd name="T9" fmla="*/ 1825 h 1825"/>
                <a:gd name="T10" fmla="*/ 212 w 1804"/>
                <a:gd name="T11" fmla="*/ 1825 h 1825"/>
                <a:gd name="T12" fmla="*/ 212 w 1804"/>
                <a:gd name="T13" fmla="*/ 225 h 1825"/>
                <a:gd name="T14" fmla="*/ 212 w 1804"/>
                <a:gd name="T15" fmla="*/ 225 h 1825"/>
                <a:gd name="T16" fmla="*/ 817 w 1804"/>
                <a:gd name="T17" fmla="*/ 1825 h 1825"/>
                <a:gd name="T18" fmla="*/ 987 w 1804"/>
                <a:gd name="T19" fmla="*/ 1825 h 1825"/>
                <a:gd name="T20" fmla="*/ 1592 w 1804"/>
                <a:gd name="T21" fmla="*/ 225 h 1825"/>
                <a:gd name="T22" fmla="*/ 1602 w 1804"/>
                <a:gd name="T23" fmla="*/ 225 h 1825"/>
                <a:gd name="T24" fmla="*/ 1602 w 1804"/>
                <a:gd name="T25" fmla="*/ 1825 h 1825"/>
                <a:gd name="T26" fmla="*/ 1804 w 1804"/>
                <a:gd name="T27" fmla="*/ 1825 h 1825"/>
                <a:gd name="T28" fmla="*/ 1804 w 1804"/>
                <a:gd name="T29" fmla="*/ 0 h 1825"/>
                <a:gd name="T30" fmla="*/ 1485 w 1804"/>
                <a:gd name="T31" fmla="*/ 0 h 1825"/>
                <a:gd name="T32" fmla="*/ 912 w 1804"/>
                <a:gd name="T33" fmla="*/ 1546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4" h="1825">
                  <a:moveTo>
                    <a:pt x="912" y="1546"/>
                  </a:moveTo>
                  <a:lnTo>
                    <a:pt x="912" y="1546"/>
                  </a:lnTo>
                  <a:lnTo>
                    <a:pt x="339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12" y="1825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817" y="1825"/>
                  </a:lnTo>
                  <a:lnTo>
                    <a:pt x="987" y="1825"/>
                  </a:lnTo>
                  <a:lnTo>
                    <a:pt x="1592" y="225"/>
                  </a:lnTo>
                  <a:lnTo>
                    <a:pt x="1602" y="225"/>
                  </a:lnTo>
                  <a:lnTo>
                    <a:pt x="1602" y="1825"/>
                  </a:lnTo>
                  <a:lnTo>
                    <a:pt x="1804" y="1825"/>
                  </a:lnTo>
                  <a:lnTo>
                    <a:pt x="1804" y="0"/>
                  </a:lnTo>
                  <a:lnTo>
                    <a:pt x="1485" y="0"/>
                  </a:lnTo>
                  <a:lnTo>
                    <a:pt x="912" y="1546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8753E6D4-28E8-404D-B990-80DAB0F4AD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735603"/>
            <a:ext cx="2121019" cy="75343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C6A9538-5069-4955-835C-2FEF00D384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67" y="5095821"/>
            <a:ext cx="1396258" cy="1396258"/>
          </a:xfrm>
          <a:prstGeom prst="rect">
            <a:avLst/>
          </a:prstGeom>
        </p:spPr>
      </p:pic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E00F7E13-115A-4506-8432-CB772AAB1CA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96000" y="368299"/>
            <a:ext cx="5364163" cy="37568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>
              <a:spcBef>
                <a:spcPts val="0"/>
              </a:spcBef>
            </a:pPr>
            <a:r>
              <a:rPr lang="de-DE" dirty="0"/>
              <a:t>Akademischer Titel </a:t>
            </a:r>
          </a:p>
          <a:p>
            <a:pPr>
              <a:spcBef>
                <a:spcPts val="0"/>
              </a:spcBef>
            </a:pPr>
            <a:r>
              <a:rPr lang="de-DE" dirty="0"/>
              <a:t>Vorname Name</a:t>
            </a:r>
          </a:p>
          <a:p>
            <a:pPr>
              <a:spcBef>
                <a:spcPts val="0"/>
              </a:spcBef>
            </a:pPr>
            <a:r>
              <a:rPr lang="de-DE" dirty="0"/>
              <a:t>Funktion/Lehrgebiet</a:t>
            </a:r>
          </a:p>
          <a:p>
            <a:pPr>
              <a:spcBef>
                <a:spcPts val="0"/>
              </a:spcBef>
            </a:pPr>
            <a:endParaRPr lang="de-DE" dirty="0"/>
          </a:p>
          <a:p>
            <a:pPr>
              <a:spcBef>
                <a:spcPts val="0"/>
              </a:spcBef>
            </a:pPr>
            <a:r>
              <a:rPr lang="de-DE" dirty="0"/>
              <a:t>T	089 0000-0000</a:t>
            </a:r>
          </a:p>
          <a:p>
            <a:pPr>
              <a:spcBef>
                <a:spcPts val="0"/>
              </a:spcBef>
            </a:pPr>
            <a:r>
              <a:rPr lang="de-DE" dirty="0"/>
              <a:t>F	089 0000-0000</a:t>
            </a:r>
          </a:p>
          <a:p>
            <a:pPr>
              <a:spcBef>
                <a:spcPts val="0"/>
              </a:spcBef>
            </a:pPr>
            <a:r>
              <a:rPr lang="de-DE" dirty="0"/>
              <a:t>M	0000 000 0000</a:t>
            </a:r>
          </a:p>
          <a:p>
            <a:pPr>
              <a:spcBef>
                <a:spcPts val="0"/>
              </a:spcBef>
            </a:pPr>
            <a:r>
              <a:rPr lang="de-DE" dirty="0"/>
              <a:t>E	vorname.name@</a:t>
            </a:r>
          </a:p>
          <a:p>
            <a:pPr>
              <a:spcBef>
                <a:spcPts val="0"/>
              </a:spcBef>
            </a:pPr>
            <a:r>
              <a:rPr lang="de-DE" dirty="0"/>
              <a:t>W	hm.edu</a:t>
            </a:r>
          </a:p>
          <a:p>
            <a:pPr>
              <a:spcBef>
                <a:spcPts val="0"/>
              </a:spcBef>
            </a:pPr>
            <a:r>
              <a:rPr lang="de-DE" dirty="0"/>
              <a:t>Adresse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00F7E13-115A-4506-8432-CB772AAB1CA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70329" y="368298"/>
            <a:ext cx="5364163" cy="4898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>
              <a:spcBef>
                <a:spcPts val="0"/>
              </a:spcBef>
            </a:pPr>
            <a:r>
              <a:rPr lang="de-DE" dirty="0"/>
              <a:t>Weiter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33234185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24702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un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6203913" y="1260000"/>
            <a:ext cx="5796000" cy="48600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/>
            </a:lvl1pPr>
            <a:lvl2pPr marL="542925" indent="0">
              <a:spcBef>
                <a:spcPts val="0"/>
              </a:spcBef>
              <a:spcAft>
                <a:spcPts val="1800"/>
              </a:spcAft>
              <a:buFont typeface="Symbol" panose="05050102010706020507" pitchFamily="18" charset="2"/>
              <a:buNone/>
              <a:defRPr/>
            </a:lvl2pPr>
            <a:lvl3pPr marL="89535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3pPr>
            <a:lvl4pPr marL="125730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4pPr>
            <a:lvl5pPr marL="161925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tabLst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192375" y="1260000"/>
            <a:ext cx="5796000" cy="486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defRPr/>
            </a:lvl1pPr>
            <a:lvl2pPr marL="542925" indent="0">
              <a:spcBef>
                <a:spcPts val="0"/>
              </a:spcBef>
              <a:spcAft>
                <a:spcPts val="1800"/>
              </a:spcAft>
              <a:buFont typeface="Symbol" panose="05050102010706020507" pitchFamily="18" charset="2"/>
              <a:buNone/>
              <a:defRPr/>
            </a:lvl2pPr>
            <a:lvl3pPr>
              <a:spcBef>
                <a:spcPts val="0"/>
              </a:spcBef>
              <a:spcAft>
                <a:spcPts val="1800"/>
              </a:spcAft>
              <a:defRPr/>
            </a:lvl3pPr>
            <a:lvl4pPr marL="1257300" indent="0">
              <a:spcBef>
                <a:spcPts val="0"/>
              </a:spcBef>
              <a:spcAft>
                <a:spcPts val="1800"/>
              </a:spcAft>
              <a:buFontTx/>
              <a:buNone/>
              <a:defRPr/>
            </a:lvl4pPr>
            <a:lvl5pPr marL="1619250" indent="0">
              <a:spcBef>
                <a:spcPts val="0"/>
              </a:spcBef>
              <a:spcAft>
                <a:spcPts val="1800"/>
              </a:spcAft>
              <a:buFontTx/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8688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59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192374" y="1260000"/>
            <a:ext cx="11807539" cy="48600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125000"/>
              <a:buFont typeface="Arial" pitchFamily="34" charset="0"/>
              <a:buChar char="•"/>
              <a:defRPr/>
            </a:lvl1pPr>
            <a:lvl2pPr marL="542925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2pPr>
            <a:lvl3pPr marL="89535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3pPr>
            <a:lvl4pPr marL="125730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4pPr>
            <a:lvl5pPr marL="161925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tabLst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663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5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2149529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680000" y="4320001"/>
            <a:ext cx="8832000" cy="11952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0000" y="2880000"/>
            <a:ext cx="11232000" cy="1143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095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052736"/>
            <a:ext cx="12192000" cy="5112568"/>
          </a:xfrm>
        </p:spPr>
        <p:txBody>
          <a:bodyPr/>
          <a:lstStyle>
            <a:lvl1pPr>
              <a:defRPr sz="4000"/>
            </a:lvl1pPr>
          </a:lstStyle>
          <a:p>
            <a:endParaRPr lang="de-DE" dirty="0"/>
          </a:p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7602762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illk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EEDBF5-7648-0B94-4CE2-E611348B729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948469-9AA4-B851-04BE-DA4A6D2FEE4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1935" y="6858000"/>
            <a:ext cx="65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A8405E8-573A-3BE7-A81A-3C26DA867CA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590AE9CA-30E4-6392-14AF-5CF36248DDED}"/>
              </a:ext>
            </a:extLst>
          </p:cNvPr>
          <p:cNvSpPr/>
          <p:nvPr userDrawn="1"/>
        </p:nvSpPr>
        <p:spPr>
          <a:xfrm>
            <a:off x="228988" y="225337"/>
            <a:ext cx="11736000" cy="59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E8EAAAA8-B10E-05CA-ABCD-B81789412C4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36641" y="6296084"/>
            <a:ext cx="1728345" cy="336492"/>
          </a:xfrm>
          <a:prstGeom prst="rect">
            <a:avLst/>
          </a:prstGeom>
        </p:spPr>
      </p:pic>
      <p:pic>
        <p:nvPicPr>
          <p:cNvPr id="11" name="CLAIM">
            <a:extLst>
              <a:ext uri="{FF2B5EF4-FFF2-40B4-BE49-F238E27FC236}">
                <a16:creationId xmlns:a16="http://schemas.microsoft.com/office/drawing/2014/main" id="{AD9EFBE7-CDFA-C18B-A5F3-015EE08AE40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8693" y="6232712"/>
            <a:ext cx="477614" cy="399863"/>
          </a:xfrm>
          <a:prstGeom prst="rect">
            <a:avLst/>
          </a:prstGeom>
        </p:spPr>
      </p:pic>
      <p:pic>
        <p:nvPicPr>
          <p:cNvPr id="12" name="Grafik WILLOMMEN">
            <a:extLst>
              <a:ext uri="{FF2B5EF4-FFF2-40B4-BE49-F238E27FC236}">
                <a16:creationId xmlns:a16="http://schemas.microsoft.com/office/drawing/2014/main" id="{64CFD343-2941-2E00-19AB-3BC1592C943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243" y="2635013"/>
            <a:ext cx="9639515" cy="1084649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63326BD2-E38B-2455-3A45-AB3F3CBFBC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838" y="5049084"/>
            <a:ext cx="10728327" cy="335092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Optional Untertitel hinzufüg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77532575-57B0-707F-D396-28BBD68CCF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838" y="4185084"/>
            <a:ext cx="10728327" cy="864000"/>
          </a:xfrm>
        </p:spPr>
        <p:txBody>
          <a:bodyPr wrap="square" anchor="ctr">
            <a:noAutofit/>
          </a:bodyPr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Optional 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4807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EEDBF5-7648-0B94-4CE2-E611348B729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948469-9AA4-B851-04BE-DA4A6D2FEE4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1935" y="6858000"/>
            <a:ext cx="65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A8405E8-573A-3BE7-A81A-3C26DA867CA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590AE9CA-30E4-6392-14AF-5CF36248DDED}"/>
              </a:ext>
            </a:extLst>
          </p:cNvPr>
          <p:cNvSpPr/>
          <p:nvPr userDrawn="1"/>
        </p:nvSpPr>
        <p:spPr>
          <a:xfrm>
            <a:off x="228988" y="225337"/>
            <a:ext cx="11736000" cy="59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E8EAAAA8-B10E-05CA-ABCD-B81789412C4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36641" y="6296084"/>
            <a:ext cx="1728345" cy="336492"/>
          </a:xfrm>
          <a:prstGeom prst="rect">
            <a:avLst/>
          </a:prstGeom>
        </p:spPr>
      </p:pic>
      <p:pic>
        <p:nvPicPr>
          <p:cNvPr id="11" name="CLAIM">
            <a:extLst>
              <a:ext uri="{FF2B5EF4-FFF2-40B4-BE49-F238E27FC236}">
                <a16:creationId xmlns:a16="http://schemas.microsoft.com/office/drawing/2014/main" id="{AD9EFBE7-CDFA-C18B-A5F3-015EE08AE40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8693" y="6232712"/>
            <a:ext cx="477614" cy="399863"/>
          </a:xfrm>
          <a:prstGeom prst="rect">
            <a:avLst/>
          </a:prstGeom>
        </p:spPr>
      </p:pic>
      <p:sp>
        <p:nvSpPr>
          <p:cNvPr id="13" name="Textplatzhalter Ort Datum">
            <a:extLst>
              <a:ext uri="{FF2B5EF4-FFF2-40B4-BE49-F238E27FC236}">
                <a16:creationId xmlns:a16="http://schemas.microsoft.com/office/drawing/2014/main" id="{ED164DAA-2EA4-EF50-382E-442E7BE843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000" y="5517990"/>
            <a:ext cx="10727687" cy="2680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Ort, Datum</a:t>
            </a:r>
          </a:p>
        </p:txBody>
      </p:sp>
      <p:sp>
        <p:nvSpPr>
          <p:cNvPr id="14" name="Textplatzhalter Name">
            <a:extLst>
              <a:ext uri="{FF2B5EF4-FFF2-40B4-BE49-F238E27FC236}">
                <a16:creationId xmlns:a16="http://schemas.microsoft.com/office/drawing/2014/main" id="{C7E8AFC4-7241-8213-58F8-7DEBED5DCF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000" y="5177903"/>
            <a:ext cx="10727687" cy="268087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Vorname Nachname, Positio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63326BD2-E38B-2455-3A45-AB3F3CBFBC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2000" y="4204800"/>
            <a:ext cx="10727999" cy="46910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Optional Untertitel hinzufüg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77532575-57B0-707F-D396-28BBD68CCF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2000" y="2728800"/>
            <a:ext cx="10728000" cy="1332000"/>
          </a:xfrm>
        </p:spPr>
        <p:txBody>
          <a:bodyPr wrap="square" anchor="b">
            <a:noAutofit/>
          </a:bodyPr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62937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BC083F4B-23E8-2AB3-5CFB-D872012B4326}"/>
              </a:ext>
            </a:extLst>
          </p:cNvPr>
          <p:cNvCxnSpPr>
            <a:cxnSpLocks/>
          </p:cNvCxnSpPr>
          <p:nvPr userDrawn="1"/>
        </p:nvCxnSpPr>
        <p:spPr>
          <a:xfrm>
            <a:off x="1883806" y="2702719"/>
            <a:ext cx="0" cy="303384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17" name="Textplatzhalter Untertitel">
            <a:extLst>
              <a:ext uri="{FF2B5EF4-FFF2-40B4-BE49-F238E27FC236}">
                <a16:creationId xmlns:a16="http://schemas.microsoft.com/office/drawing/2014/main" id="{9CC2FB49-085F-947F-D890-A376F86E76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200" y="5435004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Titel">
            <a:extLst>
              <a:ext uri="{FF2B5EF4-FFF2-40B4-BE49-F238E27FC236}">
                <a16:creationId xmlns:a16="http://schemas.microsoft.com/office/drawing/2014/main" id="{BD15ED4A-9F07-973F-3878-A2A9648BA4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89200" y="5027912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feld 3">
            <a:extLst>
              <a:ext uri="{FF2B5EF4-FFF2-40B4-BE49-F238E27FC236}">
                <a16:creationId xmlns:a16="http://schemas.microsoft.com/office/drawing/2014/main" id="{F9DE82F5-17C4-BDA4-E9C2-57634684E544}"/>
              </a:ext>
            </a:extLst>
          </p:cNvPr>
          <p:cNvSpPr txBox="1"/>
          <p:nvPr userDrawn="1"/>
        </p:nvSpPr>
        <p:spPr>
          <a:xfrm>
            <a:off x="730800" y="4916613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14" name="Textplatzhalter Untertitel">
            <a:extLst>
              <a:ext uri="{FF2B5EF4-FFF2-40B4-BE49-F238E27FC236}">
                <a16:creationId xmlns:a16="http://schemas.microsoft.com/office/drawing/2014/main" id="{C95C2834-97FB-10BC-8479-70C4ABAF50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88163" y="4222356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Titel">
            <a:extLst>
              <a:ext uri="{FF2B5EF4-FFF2-40B4-BE49-F238E27FC236}">
                <a16:creationId xmlns:a16="http://schemas.microsoft.com/office/drawing/2014/main" id="{06EB200E-F143-A2A2-BF2F-0CBBEA4DE2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88163" y="3815264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feld 2">
            <a:extLst>
              <a:ext uri="{FF2B5EF4-FFF2-40B4-BE49-F238E27FC236}">
                <a16:creationId xmlns:a16="http://schemas.microsoft.com/office/drawing/2014/main" id="{96F5C8A6-211D-3F7F-B256-6B440D8936C9}"/>
              </a:ext>
            </a:extLst>
          </p:cNvPr>
          <p:cNvSpPr txBox="1"/>
          <p:nvPr userDrawn="1"/>
        </p:nvSpPr>
        <p:spPr>
          <a:xfrm>
            <a:off x="730800" y="3704224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8" name="Textplatzhalter Untertitel">
            <a:extLst>
              <a:ext uri="{FF2B5EF4-FFF2-40B4-BE49-F238E27FC236}">
                <a16:creationId xmlns:a16="http://schemas.microsoft.com/office/drawing/2014/main" id="{655F7F41-23EA-D70E-7546-F63CE16893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9200" y="3009708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Titel">
            <a:extLst>
              <a:ext uri="{FF2B5EF4-FFF2-40B4-BE49-F238E27FC236}">
                <a16:creationId xmlns:a16="http://schemas.microsoft.com/office/drawing/2014/main" id="{1F75C9B2-1571-8C73-7FD8-BA859AD876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89200" y="2602616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494A519-6E5A-5FFF-B6C8-B858DB2950B3}"/>
              </a:ext>
            </a:extLst>
          </p:cNvPr>
          <p:cNvSpPr txBox="1"/>
          <p:nvPr userDrawn="1"/>
        </p:nvSpPr>
        <p:spPr>
          <a:xfrm>
            <a:off x="730800" y="2491835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356038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459">
          <p15:clr>
            <a:srgbClr val="FBAE40"/>
          </p15:clr>
        </p15:guide>
        <p15:guide id="4" pos="3840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BC083F4B-23E8-2AB3-5CFB-D872012B4326}"/>
              </a:ext>
            </a:extLst>
          </p:cNvPr>
          <p:cNvCxnSpPr>
            <a:cxnSpLocks/>
          </p:cNvCxnSpPr>
          <p:nvPr userDrawn="1"/>
        </p:nvCxnSpPr>
        <p:spPr>
          <a:xfrm>
            <a:off x="1883806" y="1880828"/>
            <a:ext cx="0" cy="42485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Textplatzhalter Untertitel">
            <a:extLst>
              <a:ext uri="{FF2B5EF4-FFF2-40B4-BE49-F238E27FC236}">
                <a16:creationId xmlns:a16="http://schemas.microsoft.com/office/drawing/2014/main" id="{317B2F1C-40C1-75D9-3468-71F1CC34090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389200" y="5827782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Titel">
            <a:extLst>
              <a:ext uri="{FF2B5EF4-FFF2-40B4-BE49-F238E27FC236}">
                <a16:creationId xmlns:a16="http://schemas.microsoft.com/office/drawing/2014/main" id="{F6438C5B-6093-2ACA-9391-BFDFA87454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89200" y="5420689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feld 4">
            <a:extLst>
              <a:ext uri="{FF2B5EF4-FFF2-40B4-BE49-F238E27FC236}">
                <a16:creationId xmlns:a16="http://schemas.microsoft.com/office/drawing/2014/main" id="{2D874F6D-47FD-BF28-DB13-46A8F4315EDE}"/>
              </a:ext>
            </a:extLst>
          </p:cNvPr>
          <p:cNvSpPr txBox="1"/>
          <p:nvPr userDrawn="1"/>
        </p:nvSpPr>
        <p:spPr>
          <a:xfrm>
            <a:off x="730800" y="5309130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17" name="Textplatzhalter Untertitel">
            <a:extLst>
              <a:ext uri="{FF2B5EF4-FFF2-40B4-BE49-F238E27FC236}">
                <a16:creationId xmlns:a16="http://schemas.microsoft.com/office/drawing/2014/main" id="{9CC2FB49-085F-947F-D890-A376F86E76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200" y="4615132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Titel">
            <a:extLst>
              <a:ext uri="{FF2B5EF4-FFF2-40B4-BE49-F238E27FC236}">
                <a16:creationId xmlns:a16="http://schemas.microsoft.com/office/drawing/2014/main" id="{BD15ED4A-9F07-973F-3878-A2A9648BA4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89200" y="4208040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feld 3">
            <a:extLst>
              <a:ext uri="{FF2B5EF4-FFF2-40B4-BE49-F238E27FC236}">
                <a16:creationId xmlns:a16="http://schemas.microsoft.com/office/drawing/2014/main" id="{2B63A710-3468-ED8E-8622-23FA578E5031}"/>
              </a:ext>
            </a:extLst>
          </p:cNvPr>
          <p:cNvSpPr txBox="1"/>
          <p:nvPr userDrawn="1"/>
        </p:nvSpPr>
        <p:spPr>
          <a:xfrm>
            <a:off x="730800" y="4096741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14" name="Textplatzhalter Untertitel">
            <a:extLst>
              <a:ext uri="{FF2B5EF4-FFF2-40B4-BE49-F238E27FC236}">
                <a16:creationId xmlns:a16="http://schemas.microsoft.com/office/drawing/2014/main" id="{C95C2834-97FB-10BC-8479-70C4ABAF50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88163" y="3402484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Titel">
            <a:extLst>
              <a:ext uri="{FF2B5EF4-FFF2-40B4-BE49-F238E27FC236}">
                <a16:creationId xmlns:a16="http://schemas.microsoft.com/office/drawing/2014/main" id="{06EB200E-F143-A2A2-BF2F-0CBBEA4DE2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88163" y="2995392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feld 2">
            <a:extLst>
              <a:ext uri="{FF2B5EF4-FFF2-40B4-BE49-F238E27FC236}">
                <a16:creationId xmlns:a16="http://schemas.microsoft.com/office/drawing/2014/main" id="{8528505B-8DBB-81D2-AC57-82B6C23A91F3}"/>
              </a:ext>
            </a:extLst>
          </p:cNvPr>
          <p:cNvSpPr txBox="1"/>
          <p:nvPr userDrawn="1"/>
        </p:nvSpPr>
        <p:spPr>
          <a:xfrm>
            <a:off x="730800" y="2884352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8" name="Textplatzhalter Untertitel">
            <a:extLst>
              <a:ext uri="{FF2B5EF4-FFF2-40B4-BE49-F238E27FC236}">
                <a16:creationId xmlns:a16="http://schemas.microsoft.com/office/drawing/2014/main" id="{655F7F41-23EA-D70E-7546-F63CE16893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9200" y="2189836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Titel">
            <a:extLst>
              <a:ext uri="{FF2B5EF4-FFF2-40B4-BE49-F238E27FC236}">
                <a16:creationId xmlns:a16="http://schemas.microsoft.com/office/drawing/2014/main" id="{1F75C9B2-1571-8C73-7FD8-BA859AD876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89200" y="1782744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AFED00-1175-AA6C-174E-207EDB770488}"/>
              </a:ext>
            </a:extLst>
          </p:cNvPr>
          <p:cNvSpPr txBox="1"/>
          <p:nvPr userDrawn="1"/>
        </p:nvSpPr>
        <p:spPr>
          <a:xfrm>
            <a:off x="730800" y="1671963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638619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459">
          <p15:clr>
            <a:srgbClr val="FBAE40"/>
          </p15:clr>
        </p15:guide>
        <p15:guide id="4" pos="3840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BC083F4B-23E8-2AB3-5CFB-D872012B4326}"/>
              </a:ext>
            </a:extLst>
          </p:cNvPr>
          <p:cNvCxnSpPr>
            <a:cxnSpLocks/>
          </p:cNvCxnSpPr>
          <p:nvPr userDrawn="1"/>
        </p:nvCxnSpPr>
        <p:spPr>
          <a:xfrm>
            <a:off x="1883806" y="1674019"/>
            <a:ext cx="0" cy="445531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Textplatzhalter Untertitel">
            <a:extLst>
              <a:ext uri="{FF2B5EF4-FFF2-40B4-BE49-F238E27FC236}">
                <a16:creationId xmlns:a16="http://schemas.microsoft.com/office/drawing/2014/main" id="{92EB4050-F87E-5954-C483-601B62F3E4B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89200" y="5827782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Titel">
            <a:extLst>
              <a:ext uri="{FF2B5EF4-FFF2-40B4-BE49-F238E27FC236}">
                <a16:creationId xmlns:a16="http://schemas.microsoft.com/office/drawing/2014/main" id="{D63DA9F9-CF2D-389A-830B-30293E7C615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89200" y="5420690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feld 5">
            <a:extLst>
              <a:ext uri="{FF2B5EF4-FFF2-40B4-BE49-F238E27FC236}">
                <a16:creationId xmlns:a16="http://schemas.microsoft.com/office/drawing/2014/main" id="{4E7D1D1F-8EC4-FD2E-B0CC-81DC2AD817F6}"/>
              </a:ext>
            </a:extLst>
          </p:cNvPr>
          <p:cNvSpPr txBox="1"/>
          <p:nvPr userDrawn="1"/>
        </p:nvSpPr>
        <p:spPr>
          <a:xfrm>
            <a:off x="730800" y="5311866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5</a:t>
            </a:r>
          </a:p>
        </p:txBody>
      </p:sp>
      <p:sp>
        <p:nvSpPr>
          <p:cNvPr id="20" name="Textplatzhalter Untertitel">
            <a:extLst>
              <a:ext uri="{FF2B5EF4-FFF2-40B4-BE49-F238E27FC236}">
                <a16:creationId xmlns:a16="http://schemas.microsoft.com/office/drawing/2014/main" id="{317B2F1C-40C1-75D9-3468-71F1CC34090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389200" y="4867133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Titel">
            <a:extLst>
              <a:ext uri="{FF2B5EF4-FFF2-40B4-BE49-F238E27FC236}">
                <a16:creationId xmlns:a16="http://schemas.microsoft.com/office/drawing/2014/main" id="{F6438C5B-6093-2ACA-9391-BFDFA87454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89200" y="4460041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feld 4">
            <a:extLst>
              <a:ext uri="{FF2B5EF4-FFF2-40B4-BE49-F238E27FC236}">
                <a16:creationId xmlns:a16="http://schemas.microsoft.com/office/drawing/2014/main" id="{58C539E5-7F99-E53D-3A67-A06DD8D799AB}"/>
              </a:ext>
            </a:extLst>
          </p:cNvPr>
          <p:cNvSpPr txBox="1"/>
          <p:nvPr userDrawn="1"/>
        </p:nvSpPr>
        <p:spPr>
          <a:xfrm>
            <a:off x="730800" y="4351477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17" name="Textplatzhalter Untertitel">
            <a:extLst>
              <a:ext uri="{FF2B5EF4-FFF2-40B4-BE49-F238E27FC236}">
                <a16:creationId xmlns:a16="http://schemas.microsoft.com/office/drawing/2014/main" id="{9CC2FB49-085F-947F-D890-A376F86E76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200" y="3906485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Titel">
            <a:extLst>
              <a:ext uri="{FF2B5EF4-FFF2-40B4-BE49-F238E27FC236}">
                <a16:creationId xmlns:a16="http://schemas.microsoft.com/office/drawing/2014/main" id="{BD15ED4A-9F07-973F-3878-A2A9648BA4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89200" y="3499393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feld 3">
            <a:extLst>
              <a:ext uri="{FF2B5EF4-FFF2-40B4-BE49-F238E27FC236}">
                <a16:creationId xmlns:a16="http://schemas.microsoft.com/office/drawing/2014/main" id="{AB1F946A-9FD7-918B-17FF-40E8C774C1E9}"/>
              </a:ext>
            </a:extLst>
          </p:cNvPr>
          <p:cNvSpPr txBox="1"/>
          <p:nvPr userDrawn="1"/>
        </p:nvSpPr>
        <p:spPr>
          <a:xfrm>
            <a:off x="730800" y="3391088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14" name="Textplatzhalter Untertitel">
            <a:extLst>
              <a:ext uri="{FF2B5EF4-FFF2-40B4-BE49-F238E27FC236}">
                <a16:creationId xmlns:a16="http://schemas.microsoft.com/office/drawing/2014/main" id="{C95C2834-97FB-10BC-8479-70C4ABAF50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88163" y="2945837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Titel">
            <a:extLst>
              <a:ext uri="{FF2B5EF4-FFF2-40B4-BE49-F238E27FC236}">
                <a16:creationId xmlns:a16="http://schemas.microsoft.com/office/drawing/2014/main" id="{06EB200E-F143-A2A2-BF2F-0CBBEA4DE2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88163" y="2538745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feld 2">
            <a:extLst>
              <a:ext uri="{FF2B5EF4-FFF2-40B4-BE49-F238E27FC236}">
                <a16:creationId xmlns:a16="http://schemas.microsoft.com/office/drawing/2014/main" id="{7683E24D-3A3C-CA60-10E5-48D32C4C16C1}"/>
              </a:ext>
            </a:extLst>
          </p:cNvPr>
          <p:cNvSpPr txBox="1"/>
          <p:nvPr userDrawn="1"/>
        </p:nvSpPr>
        <p:spPr>
          <a:xfrm>
            <a:off x="730800" y="2430699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8" name="Textplatzhalter Untertitel">
            <a:extLst>
              <a:ext uri="{FF2B5EF4-FFF2-40B4-BE49-F238E27FC236}">
                <a16:creationId xmlns:a16="http://schemas.microsoft.com/office/drawing/2014/main" id="{655F7F41-23EA-D70E-7546-F63CE16893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9200" y="1985188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Titel">
            <a:extLst>
              <a:ext uri="{FF2B5EF4-FFF2-40B4-BE49-F238E27FC236}">
                <a16:creationId xmlns:a16="http://schemas.microsoft.com/office/drawing/2014/main" id="{1F75C9B2-1571-8C73-7FD8-BA859AD876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89200" y="1578096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feld 1">
            <a:extLst>
              <a:ext uri="{FF2B5EF4-FFF2-40B4-BE49-F238E27FC236}">
                <a16:creationId xmlns:a16="http://schemas.microsoft.com/office/drawing/2014/main" id="{C07610BE-63A9-121D-7B49-3251478FB8C0}"/>
              </a:ext>
            </a:extLst>
          </p:cNvPr>
          <p:cNvSpPr txBox="1"/>
          <p:nvPr userDrawn="1"/>
        </p:nvSpPr>
        <p:spPr>
          <a:xfrm>
            <a:off x="730800" y="1470309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750279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459">
          <p15:clr>
            <a:srgbClr val="FBAE40"/>
          </p15:clr>
        </p15:guide>
        <p15:guide id="4" pos="3840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la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267D8E6A-6094-2800-1D6F-5F51DD3363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28000" y="225425"/>
            <a:ext cx="11736000" cy="64071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LINIE">
            <a:extLst>
              <a:ext uri="{FF2B5EF4-FFF2-40B4-BE49-F238E27FC236}">
                <a16:creationId xmlns:a16="http://schemas.microsoft.com/office/drawing/2014/main" id="{2DEFF6CE-485A-196E-A878-AFE3B4D37656}"/>
              </a:ext>
            </a:extLst>
          </p:cNvPr>
          <p:cNvCxnSpPr>
            <a:cxnSpLocks/>
          </p:cNvCxnSpPr>
          <p:nvPr userDrawn="1"/>
        </p:nvCxnSpPr>
        <p:spPr>
          <a:xfrm flipH="1">
            <a:off x="3809536" y="2965547"/>
            <a:ext cx="69" cy="316275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platzhalter NR">
            <a:extLst>
              <a:ext uri="{FF2B5EF4-FFF2-40B4-BE49-F238E27FC236}">
                <a16:creationId xmlns:a16="http://schemas.microsoft.com/office/drawing/2014/main" id="{252827D6-CC97-F016-6587-D1C1B6BC9B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2312" y="2922039"/>
            <a:ext cx="2789225" cy="830997"/>
          </a:xfrm>
        </p:spPr>
        <p:txBody>
          <a:bodyPr wrap="square">
            <a:no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Verzeichnis">
            <a:extLst>
              <a:ext uri="{FF2B5EF4-FFF2-40B4-BE49-F238E27FC236}">
                <a16:creationId xmlns:a16="http://schemas.microsoft.com/office/drawing/2014/main" id="{EA45C867-CF6F-99B2-4775-7530C0B904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3605" y="2960302"/>
            <a:ext cx="7146558" cy="3168000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1pPr>
            <a:lvl2pPr marL="6840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2pPr>
            <a:lvl3pPr marL="10260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3pPr>
            <a:lvl4pPr marL="540000" indent="0">
              <a:buClr>
                <a:schemeClr val="bg1"/>
              </a:buClr>
              <a:buFont typeface="+mj-lt"/>
              <a:buNone/>
              <a:defRPr sz="1400">
                <a:solidFill>
                  <a:schemeClr val="bg1"/>
                </a:solidFill>
              </a:defRPr>
            </a:lvl4pPr>
            <a:lvl5pPr marL="948600" indent="-228600">
              <a:buClr>
                <a:schemeClr val="bg1"/>
              </a:buClr>
              <a:buFont typeface="+mj-lt"/>
              <a:buAutoNum type="arabicPeriod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201134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267D8E6A-6094-2800-1D6F-5F51DD3363D1}"/>
              </a:ext>
            </a:extLst>
          </p:cNvPr>
          <p:cNvSpPr>
            <a:spLocks/>
          </p:cNvSpPr>
          <p:nvPr userDrawn="1"/>
        </p:nvSpPr>
        <p:spPr>
          <a:xfrm>
            <a:off x="228000" y="225425"/>
            <a:ext cx="11736000" cy="59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82FEE42D-833E-FF57-8EB5-E502947A6D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2312" y="4194209"/>
            <a:ext cx="10727375" cy="54000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Untertitel hinzufüg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D5E52893-BB13-3155-D249-74211C8710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12" y="2728430"/>
            <a:ext cx="10727375" cy="1332000"/>
          </a:xfrm>
        </p:spPr>
        <p:txBody>
          <a:bodyPr wrap="square" anchor="b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Schlussbotschaft hinzufügen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9EDC34F6-9551-74EE-4E70-1D98801D93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36641" y="6296084"/>
            <a:ext cx="1728345" cy="336492"/>
          </a:xfrm>
          <a:prstGeom prst="rect">
            <a:avLst/>
          </a:prstGeom>
        </p:spPr>
      </p:pic>
      <p:pic>
        <p:nvPicPr>
          <p:cNvPr id="7" name="CLAIM">
            <a:extLst>
              <a:ext uri="{FF2B5EF4-FFF2-40B4-BE49-F238E27FC236}">
                <a16:creationId xmlns:a16="http://schemas.microsoft.com/office/drawing/2014/main" id="{35CD5F71-250C-9598-71BF-23C5FBFD159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8693" y="6232712"/>
            <a:ext cx="477614" cy="399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3805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EEDBF5-7648-0B94-4CE2-E611348B729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948469-9AA4-B851-04BE-DA4A6D2FEE4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1935" y="6858000"/>
            <a:ext cx="65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A8405E8-573A-3BE7-A81A-3C26DA867CA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590AE9CA-30E4-6392-14AF-5CF36248DD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28988" y="225337"/>
            <a:ext cx="11736000" cy="6407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/>
          </a:p>
        </p:txBody>
      </p:sp>
      <p:cxnSp>
        <p:nvCxnSpPr>
          <p:cNvPr id="10" name="LINIE">
            <a:extLst>
              <a:ext uri="{FF2B5EF4-FFF2-40B4-BE49-F238E27FC236}">
                <a16:creationId xmlns:a16="http://schemas.microsoft.com/office/drawing/2014/main" id="{887AFB9C-ED95-1ED5-2248-8A943880F0B0}"/>
              </a:ext>
            </a:extLst>
          </p:cNvPr>
          <p:cNvCxnSpPr>
            <a:cxnSpLocks/>
          </p:cNvCxnSpPr>
          <p:nvPr userDrawn="1"/>
        </p:nvCxnSpPr>
        <p:spPr>
          <a:xfrm>
            <a:off x="2783689" y="2728431"/>
            <a:ext cx="0" cy="339987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Untertitel">
            <a:extLst>
              <a:ext uri="{FF2B5EF4-FFF2-40B4-BE49-F238E27FC236}">
                <a16:creationId xmlns:a16="http://schemas.microsoft.com/office/drawing/2014/main" id="{63326BD2-E38B-2455-3A45-AB3F3CBFBC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8000" y="4204800"/>
            <a:ext cx="8171999" cy="46910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77532575-57B0-707F-D396-28BBD68CCF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88000" y="2728800"/>
            <a:ext cx="8171999" cy="1332000"/>
          </a:xfrm>
        </p:spPr>
        <p:txBody>
          <a:bodyPr wrap="square" anchor="t">
            <a:noAutofit/>
          </a:bodyPr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2" name="Textplatzhalter NR">
            <a:extLst>
              <a:ext uri="{FF2B5EF4-FFF2-40B4-BE49-F238E27FC236}">
                <a16:creationId xmlns:a16="http://schemas.microsoft.com/office/drawing/2014/main" id="{9C2012C1-AFFD-5ED7-93E1-DB05934371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2312" y="2608846"/>
            <a:ext cx="1769715" cy="2010422"/>
          </a:xfrm>
        </p:spPr>
        <p:txBody>
          <a:bodyPr wrap="none">
            <a:no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3" name="Textplatzhalter Position">
            <a:extLst>
              <a:ext uri="{FF2B5EF4-FFF2-40B4-BE49-F238E27FC236}">
                <a16:creationId xmlns:a16="http://schemas.microsoft.com/office/drawing/2014/main" id="{ED164DAA-2EA4-EF50-382E-442E7BE843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7999" y="5860215"/>
            <a:ext cx="8172000" cy="2680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Position</a:t>
            </a:r>
          </a:p>
        </p:txBody>
      </p:sp>
      <p:sp>
        <p:nvSpPr>
          <p:cNvPr id="14" name="Textplatzhalter Name">
            <a:extLst>
              <a:ext uri="{FF2B5EF4-FFF2-40B4-BE49-F238E27FC236}">
                <a16:creationId xmlns:a16="http://schemas.microsoft.com/office/drawing/2014/main" id="{C7E8AFC4-7241-8213-58F8-7DEBED5DCF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7999" y="5520128"/>
            <a:ext cx="8172000" cy="268087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2867465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Unter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267D8E6A-6094-2800-1D6F-5F51DD3363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28000" y="225425"/>
            <a:ext cx="11736000" cy="64071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/>
          </a:p>
        </p:txBody>
      </p:sp>
      <p:cxnSp>
        <p:nvCxnSpPr>
          <p:cNvPr id="6" name="LINIE">
            <a:extLst>
              <a:ext uri="{FF2B5EF4-FFF2-40B4-BE49-F238E27FC236}">
                <a16:creationId xmlns:a16="http://schemas.microsoft.com/office/drawing/2014/main" id="{2DEFF6CE-485A-196E-A878-AFE3B4D37656}"/>
              </a:ext>
            </a:extLst>
          </p:cNvPr>
          <p:cNvCxnSpPr>
            <a:cxnSpLocks/>
          </p:cNvCxnSpPr>
          <p:nvPr userDrawn="1"/>
        </p:nvCxnSpPr>
        <p:spPr>
          <a:xfrm>
            <a:off x="2783689" y="2728431"/>
            <a:ext cx="0" cy="339987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platzhalter NR">
            <a:extLst>
              <a:ext uri="{FF2B5EF4-FFF2-40B4-BE49-F238E27FC236}">
                <a16:creationId xmlns:a16="http://schemas.microsoft.com/office/drawing/2014/main" id="{252827D6-CC97-F016-6587-D1C1B6BC9B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2312" y="2608846"/>
            <a:ext cx="1769715" cy="2010422"/>
          </a:xfrm>
        </p:spPr>
        <p:txBody>
          <a:bodyPr wrap="none">
            <a:no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2" name="Textplatzhalter Verzeichnis">
            <a:extLst>
              <a:ext uri="{FF2B5EF4-FFF2-40B4-BE49-F238E27FC236}">
                <a16:creationId xmlns:a16="http://schemas.microsoft.com/office/drawing/2014/main" id="{EA45C867-CF6F-99B2-4775-7530C0B904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87688" y="4194209"/>
            <a:ext cx="8171999" cy="1934093"/>
          </a:xfrm>
        </p:spPr>
        <p:txBody>
          <a:bodyPr/>
          <a:lstStyle>
            <a:lvl1pPr marL="3429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1pPr>
            <a:lvl2pPr marL="6840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2pPr>
            <a:lvl3pPr marL="10260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3pPr>
            <a:lvl4pPr marL="540000" indent="0">
              <a:buClr>
                <a:schemeClr val="bg1"/>
              </a:buClr>
              <a:buFont typeface="+mj-lt"/>
              <a:buNone/>
              <a:defRPr sz="1400">
                <a:solidFill>
                  <a:schemeClr val="bg1"/>
                </a:solidFill>
              </a:defRPr>
            </a:lvl4pPr>
            <a:lvl5pPr marL="948600" indent="-228600">
              <a:buClr>
                <a:schemeClr val="bg1"/>
              </a:buClr>
              <a:buFont typeface="+mj-lt"/>
              <a:buAutoNum type="arabicPeriod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D5E52893-BB13-3155-D249-74211C87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688" y="2728430"/>
            <a:ext cx="8172000" cy="1332000"/>
          </a:xfrm>
        </p:spPr>
        <p:txBody>
          <a:bodyPr wrap="square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941715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267D8E6A-6094-2800-1D6F-5F51DD3363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28000" y="225425"/>
            <a:ext cx="11736000" cy="64071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/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82FEE42D-833E-FF57-8EB5-E502947A6D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2312" y="4194209"/>
            <a:ext cx="10727375" cy="54000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D5E52893-BB13-3155-D249-74211C87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12" y="2728430"/>
            <a:ext cx="10727375" cy="1332000"/>
          </a:xfrm>
        </p:spPr>
        <p:txBody>
          <a:bodyPr wrap="square" anchor="b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646360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2" descr="HG-Star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36"/>
          <a:stretch/>
        </p:blipFill>
        <p:spPr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15" name="Bild 4" descr="logo-bmwi-jpg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sp>
        <p:nvSpPr>
          <p:cNvPr id="9" name="Titel 3"/>
          <p:cNvSpPr>
            <a:spLocks noGrp="1"/>
          </p:cNvSpPr>
          <p:nvPr>
            <p:ph type="ctrTitle" idx="4294967295" hasCustomPrompt="1"/>
          </p:nvPr>
        </p:nvSpPr>
        <p:spPr>
          <a:xfrm>
            <a:off x="814919" y="2277533"/>
            <a:ext cx="10562165" cy="2302935"/>
          </a:xfrm>
        </p:spPr>
        <p:txBody>
          <a:bodyPr anchor="t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4949695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8" y="3429000"/>
            <a:ext cx="10728325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1757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7" orient="horz" pos="2160">
          <p15:clr>
            <a:srgbClr val="FBAE40"/>
          </p15:clr>
        </p15:guide>
        <p15:guide id="8" pos="4158">
          <p15:clr>
            <a:srgbClr val="FBAE40"/>
          </p15:clr>
        </p15:guide>
        <p15:guide id="9" pos="352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Inhaltsplatzhalter rechts">
            <a:extLst>
              <a:ext uri="{FF2B5EF4-FFF2-40B4-BE49-F238E27FC236}">
                <a16:creationId xmlns:a16="http://schemas.microsoft.com/office/drawing/2014/main" id="{124B6DDE-429D-4BA5-932E-138B035672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600000" y="3429000"/>
            <a:ext cx="4860163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8" y="3429000"/>
            <a:ext cx="4860163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50497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7" orient="horz" pos="2160">
          <p15:clr>
            <a:srgbClr val="FBAE40"/>
          </p15:clr>
        </p15:guide>
        <p15:guide id="8" pos="4158">
          <p15:clr>
            <a:srgbClr val="FBAE40"/>
          </p15:clr>
        </p15:guide>
        <p15:guide id="9" pos="352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LINIE">
            <a:extLst>
              <a:ext uri="{FF2B5EF4-FFF2-40B4-BE49-F238E27FC236}">
                <a16:creationId xmlns:a16="http://schemas.microsoft.com/office/drawing/2014/main" id="{2037F9E9-30AE-8A0C-1FC9-293296D8E63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930401"/>
            <a:ext cx="0" cy="319893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Inhaltsplatzhalter rechts">
            <a:extLst>
              <a:ext uri="{FF2B5EF4-FFF2-40B4-BE49-F238E27FC236}">
                <a16:creationId xmlns:a16="http://schemas.microsoft.com/office/drawing/2014/main" id="{124B6DDE-429D-4BA5-932E-138B035672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600000" y="3429000"/>
            <a:ext cx="4860163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8" y="3429000"/>
            <a:ext cx="4860163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rechts">
            <a:extLst>
              <a:ext uri="{FF2B5EF4-FFF2-40B4-BE49-F238E27FC236}">
                <a16:creationId xmlns:a16="http://schemas.microsoft.com/office/drawing/2014/main" id="{D3D949C2-CB22-F3E0-7EAE-F5E44EF6E9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00000" y="2997406"/>
            <a:ext cx="4860163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links">
            <a:extLst>
              <a:ext uri="{FF2B5EF4-FFF2-40B4-BE49-F238E27FC236}">
                <a16:creationId xmlns:a16="http://schemas.microsoft.com/office/drawing/2014/main" id="{E60B6313-7306-669D-18C3-1EBEBB3043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838" y="2997406"/>
            <a:ext cx="4860163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08049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7" orient="horz" pos="2160">
          <p15:clr>
            <a:srgbClr val="FBAE40"/>
          </p15:clr>
        </p15:guide>
        <p15:guide id="8" pos="4158">
          <p15:clr>
            <a:srgbClr val="FBAE40"/>
          </p15:clr>
        </p15:guide>
        <p15:guide id="9" pos="352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LINIE rechts">
            <a:extLst>
              <a:ext uri="{FF2B5EF4-FFF2-40B4-BE49-F238E27FC236}">
                <a16:creationId xmlns:a16="http://schemas.microsoft.com/office/drawing/2014/main" id="{14D3E761-0E3F-AE69-0BD8-6962BA49474E}"/>
              </a:ext>
            </a:extLst>
          </p:cNvPr>
          <p:cNvCxnSpPr>
            <a:cxnSpLocks/>
          </p:cNvCxnSpPr>
          <p:nvPr userDrawn="1"/>
        </p:nvCxnSpPr>
        <p:spPr>
          <a:xfrm>
            <a:off x="8039893" y="2930401"/>
            <a:ext cx="0" cy="319893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IE links">
            <a:extLst>
              <a:ext uri="{FF2B5EF4-FFF2-40B4-BE49-F238E27FC236}">
                <a16:creationId xmlns:a16="http://schemas.microsoft.com/office/drawing/2014/main" id="{2037F9E9-30AE-8A0C-1FC9-293296D8E630}"/>
              </a:ext>
            </a:extLst>
          </p:cNvPr>
          <p:cNvCxnSpPr>
            <a:cxnSpLocks/>
          </p:cNvCxnSpPr>
          <p:nvPr userDrawn="1"/>
        </p:nvCxnSpPr>
        <p:spPr>
          <a:xfrm>
            <a:off x="4151850" y="2930401"/>
            <a:ext cx="0" cy="319893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Inhaltsplatzhalter rechts">
            <a:extLst>
              <a:ext uri="{FF2B5EF4-FFF2-40B4-BE49-F238E27FC236}">
                <a16:creationId xmlns:a16="http://schemas.microsoft.com/office/drawing/2014/main" id="{124B6DDE-429D-4BA5-932E-138B035672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543925" y="3429000"/>
            <a:ext cx="2916000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Inhaltsplatzhalter mitte">
            <a:extLst>
              <a:ext uri="{FF2B5EF4-FFF2-40B4-BE49-F238E27FC236}">
                <a16:creationId xmlns:a16="http://schemas.microsoft.com/office/drawing/2014/main" id="{590F05C8-FA46-01A7-C2CD-67B82E098930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655862" y="3429000"/>
            <a:ext cx="2880000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8" y="3429000"/>
            <a:ext cx="2916000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extplatzhalter rechts">
            <a:extLst>
              <a:ext uri="{FF2B5EF4-FFF2-40B4-BE49-F238E27FC236}">
                <a16:creationId xmlns:a16="http://schemas.microsoft.com/office/drawing/2014/main" id="{37066066-C663-F7CD-7B58-8EEE30525F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43925" y="2997406"/>
            <a:ext cx="2916237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mitte">
            <a:extLst>
              <a:ext uri="{FF2B5EF4-FFF2-40B4-BE49-F238E27FC236}">
                <a16:creationId xmlns:a16="http://schemas.microsoft.com/office/drawing/2014/main" id="{B8EB74F1-11DA-3BCC-63DE-E627F2BA5E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6138" y="2997406"/>
            <a:ext cx="2879724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links">
            <a:extLst>
              <a:ext uri="{FF2B5EF4-FFF2-40B4-BE49-F238E27FC236}">
                <a16:creationId xmlns:a16="http://schemas.microsoft.com/office/drawing/2014/main" id="{E60B6313-7306-669D-18C3-1EBEBB3043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837" y="2997406"/>
            <a:ext cx="2916237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1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53221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615">
          <p15:clr>
            <a:srgbClr val="FBAE40"/>
          </p15:clr>
        </p15:guide>
        <p15:guide id="7" orient="horz" pos="2160">
          <p15:clr>
            <a:srgbClr val="FBAE40"/>
          </p15:clr>
        </p15:guide>
        <p15:guide id="8" pos="4747">
          <p15:clr>
            <a:srgbClr val="FBAE40"/>
          </p15:clr>
        </p15:guide>
        <p15:guide id="9" pos="2933">
          <p15:clr>
            <a:srgbClr val="FBAE40"/>
          </p15:clr>
        </p15:guide>
        <p15:guide id="10" pos="2298">
          <p15:clr>
            <a:srgbClr val="FBAE40"/>
          </p15:clr>
        </p15:guide>
        <p15:guide id="11" pos="5065">
          <p15:clr>
            <a:srgbClr val="FBAE40"/>
          </p15:clr>
        </p15:guide>
        <p15:guide id="12" pos="538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18873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480">
          <p15:clr>
            <a:srgbClr val="FBAE40"/>
          </p15:clr>
        </p15:guide>
        <p15:guide id="4" pos="3840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31646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480">
          <p15:clr>
            <a:srgbClr val="FBAE40"/>
          </p15:clr>
        </p15:guide>
        <p15:guide id="4" pos="3840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000" y="225425"/>
            <a:ext cx="11736000" cy="6407151"/>
          </a:xfrm>
          <a:solidFill>
            <a:schemeClr val="bg1">
              <a:lumMod val="95000"/>
            </a:schemeClr>
          </a:solid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941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225424"/>
            <a:ext cx="5868987" cy="6407151"/>
          </a:xfrm>
          <a:solidFill>
            <a:schemeClr val="bg1">
              <a:lumMod val="95000"/>
            </a:schemeClr>
          </a:solid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">
            <a:extLst>
              <a:ext uri="{FF2B5EF4-FFF2-40B4-BE49-F238E27FC236}">
                <a16:creationId xmlns:a16="http://schemas.microsoft.com/office/drawing/2014/main" id="{79DBC7D7-9B08-7103-9B80-F55D8FAF91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838" y="3429000"/>
            <a:ext cx="4859338" cy="270033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A2686710-AED1-CD53-68A6-8E6902E42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2565400"/>
            <a:ext cx="4859338" cy="756001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44144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52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013" y="225424"/>
            <a:ext cx="5868987" cy="6407151"/>
          </a:xfrm>
          <a:solidFill>
            <a:schemeClr val="bg1">
              <a:lumMod val="95000"/>
            </a:schemeClr>
          </a:solid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">
            <a:extLst>
              <a:ext uri="{FF2B5EF4-FFF2-40B4-BE49-F238E27FC236}">
                <a16:creationId xmlns:a16="http://schemas.microsoft.com/office/drawing/2014/main" id="{79DBC7D7-9B08-7103-9B80-F55D8FAF91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0825" y="3429000"/>
            <a:ext cx="4859338" cy="270033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A2686710-AED1-CD53-68A6-8E6902E42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825" y="2565400"/>
            <a:ext cx="4859338" cy="756001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9990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58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/Botschaf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225424"/>
            <a:ext cx="5868987" cy="6407151"/>
          </a:xfrm>
          <a:solidFill>
            <a:schemeClr val="bg1">
              <a:lumMod val="95000"/>
            </a:schemeClr>
          </a:solid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4DD5364D-FA3D-3483-522F-74ABFFEA98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838" y="2263607"/>
            <a:ext cx="4859337" cy="301557"/>
          </a:xfrm>
        </p:spPr>
        <p:txBody>
          <a:bodyPr anchor="b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E83ABBD7-77C6-DDE6-8F96-1ABBFD81E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2781300"/>
            <a:ext cx="4859337" cy="2340000"/>
          </a:xfrm>
        </p:spPr>
        <p:txBody>
          <a:bodyPr/>
          <a:lstStyle>
            <a:lvl1pPr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13610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  <p15:guide id="2" orient="horz" pos="1616">
          <p15:clr>
            <a:srgbClr val="FBAE40"/>
          </p15:clr>
        </p15:guide>
        <p15:guide id="3" pos="3840">
          <p15:clr>
            <a:srgbClr val="FBAE40"/>
          </p15:clr>
        </p15:guide>
        <p15:guide id="4" pos="352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5" Type="http://schemas.openxmlformats.org/officeDocument/2006/relationships/slideLayout" Target="../slideLayouts/slideLayout84.xml"/><Relationship Id="rId10" Type="http://schemas.openxmlformats.org/officeDocument/2006/relationships/image" Target="../media/image40.svg"/><Relationship Id="rId4" Type="http://schemas.openxmlformats.org/officeDocument/2006/relationships/slideLayout" Target="../slideLayouts/slideLayout83.xml"/><Relationship Id="rId9" Type="http://schemas.openxmlformats.org/officeDocument/2006/relationships/image" Target="../media/image39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image" Target="../media/image39.pn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19" Type="http://schemas.openxmlformats.org/officeDocument/2006/relationships/image" Target="../media/image40.svg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image" Target="../media/image2.jpg"/><Relationship Id="rId5" Type="http://schemas.openxmlformats.org/officeDocument/2006/relationships/slideLayout" Target="../slideLayouts/slideLayout107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114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5.xml"/><Relationship Id="rId9" Type="http://schemas.openxmlformats.org/officeDocument/2006/relationships/image" Target="../media/image3.pn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18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2.jp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5.jp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56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55.xml"/><Relationship Id="rId9" Type="http://schemas.openxmlformats.org/officeDocument/2006/relationships/image" Target="../media/image19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24.emf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22.pn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image" Target="../media/image32.emf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slideLayout" Target="../slideLayouts/slideLayout77.xml"/><Relationship Id="rId7" Type="http://schemas.openxmlformats.org/officeDocument/2006/relationships/image" Target="../media/image37.jp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HG-Folge-unten.jp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1042"/>
            <a:ext cx="12196800" cy="7384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051" y="1316567"/>
            <a:ext cx="11137900" cy="45127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Zweite Ebene</a:t>
            </a:r>
          </a:p>
          <a:p>
            <a:pPr lvl="6"/>
            <a:r>
              <a:rPr lang="de-DE" dirty="0"/>
              <a:t>Dritte Ebene</a:t>
            </a:r>
          </a:p>
          <a:p>
            <a:pPr lvl="7"/>
            <a:r>
              <a:rPr lang="de-DE" dirty="0"/>
              <a:t>Vier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11" y="259834"/>
            <a:ext cx="844800" cy="6057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8518" y="357718"/>
            <a:ext cx="9986433" cy="3831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11" name="Foliennummernplatzhalter 6"/>
          <p:cNvSpPr txBox="1">
            <a:spLocks/>
          </p:cNvSpPr>
          <p:nvPr userDrawn="1"/>
        </p:nvSpPr>
        <p:spPr>
          <a:xfrm>
            <a:off x="3194107" y="6489050"/>
            <a:ext cx="8448937" cy="288032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200" dirty="0">
                <a:solidFill>
                  <a:schemeClr val="bg1"/>
                </a:solidFill>
                <a:latin typeface="Calibri"/>
                <a:cs typeface="Calibri"/>
              </a:rPr>
              <a:t>Projektetreffen Energiewendebauen – 21/22.11.2024 in München | Seite </a:t>
            </a:r>
            <a:fld id="{9D26C6B8-7DF4-4F01-8878-A6272B56DAC3}" type="slidenum">
              <a:rPr lang="de-DE" sz="1200" smtClean="0">
                <a:solidFill>
                  <a:schemeClr val="bg1"/>
                </a:solidFill>
                <a:latin typeface="Calibri"/>
                <a:cs typeface="Calibri"/>
              </a:rPr>
              <a:pPr/>
              <a:t>‹Nr.›</a:t>
            </a:fld>
            <a:endParaRPr lang="de-DE"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708" r:id="rId2"/>
    <p:sldLayoutId id="2147483711" r:id="rId3"/>
    <p:sldLayoutId id="2147483677" r:id="rId4"/>
    <p:sldLayoutId id="2147483710" r:id="rId5"/>
    <p:sldLayoutId id="2147483672" r:id="rId6"/>
    <p:sldLayoutId id="2147483706" r:id="rId7"/>
    <p:sldLayoutId id="2147483709" r:id="rId8"/>
    <p:sldLayoutId id="2147483666" r:id="rId9"/>
    <p:sldLayoutId id="2147483712" r:id="rId10"/>
  </p:sldLayoutIdLst>
  <p:hf hd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000" b="0" i="0" kern="1200" spc="-133" baseline="0">
          <a:solidFill>
            <a:schemeClr val="tx1"/>
          </a:solidFill>
          <a:latin typeface="Calibri"/>
          <a:ea typeface="+mj-ea"/>
          <a:cs typeface="Calibri"/>
        </a:defRPr>
      </a:lvl1pPr>
    </p:titleStyle>
    <p:bodyStyle>
      <a:lvl1pPr marL="0" indent="0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2"/>
        </a:buClr>
        <a:buSzPct val="85000"/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1pPr>
      <a:lvl2pPr marL="243411" indent="-243411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rgbClr val="5E8F1B"/>
        </a:buClr>
        <a:buSzPct val="100000"/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2pPr>
      <a:lvl3pPr marL="480472" indent="-243411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accent1"/>
        </a:buClr>
        <a:buSzPct val="100000"/>
        <a:buFont typeface="Wingdings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3pPr>
      <a:lvl4pPr marL="721766" indent="-241294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4pPr>
      <a:lvl5pPr marL="954593" indent="-232828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SzPct val="100000"/>
        <a:buFont typeface="Wingdings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5pPr>
      <a:lvl6pPr marL="478355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6pPr>
      <a:lvl7pPr marL="958827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>
          <a:solidFill>
            <a:schemeClr val="tx1"/>
          </a:solidFill>
          <a:latin typeface="Calibri"/>
          <a:ea typeface="+mn-ea"/>
          <a:cs typeface="Calibri"/>
        </a:defRPr>
      </a:lvl7pPr>
      <a:lvl8pPr marL="1439297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>
          <a:solidFill>
            <a:schemeClr val="tx1"/>
          </a:solidFill>
          <a:latin typeface="Calibri"/>
          <a:ea typeface="+mn-ea"/>
          <a:cs typeface="Calibri"/>
        </a:defRPr>
      </a:lvl8pPr>
      <a:lvl9pPr marL="1919952" indent="-479988" algn="l" defTabSz="1219170" rtl="0" eaLnBrk="1" latinLnBrk="0" hangingPunct="1">
        <a:lnSpc>
          <a:spcPts val="3733"/>
        </a:lnSpc>
        <a:spcBef>
          <a:spcPts val="1333"/>
        </a:spcBef>
        <a:buClr>
          <a:srgbClr val="5E8F1B"/>
        </a:buClr>
        <a:buFont typeface="+mj-lt"/>
        <a:buAutoNum type="arabicPeriod"/>
        <a:defRPr sz="2667" kern="1200">
          <a:solidFill>
            <a:schemeClr val="tx1"/>
          </a:solidFill>
          <a:latin typeface="Calibri"/>
          <a:ea typeface="+mn-ea"/>
          <a:cs typeface="Calibri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" userDrawn="1">
          <p15:clr>
            <a:srgbClr val="F26B43"/>
          </p15:clr>
        </p15:guide>
        <p15:guide id="2" pos="332" userDrawn="1">
          <p15:clr>
            <a:srgbClr val="F26B43"/>
          </p15:clr>
        </p15:guide>
        <p15:guide id="3" pos="513" userDrawn="1">
          <p15:clr>
            <a:srgbClr val="F26B43"/>
          </p15:clr>
        </p15:guide>
        <p15:guide id="4" pos="876" userDrawn="1">
          <p15:clr>
            <a:srgbClr val="F26B43"/>
          </p15:clr>
        </p15:guide>
        <p15:guide id="5" pos="1057" userDrawn="1">
          <p15:clr>
            <a:srgbClr val="F26B43"/>
          </p15:clr>
        </p15:guide>
        <p15:guide id="6" pos="3719" userDrawn="1">
          <p15:clr>
            <a:srgbClr val="F26B43"/>
          </p15:clr>
        </p15:guide>
        <p15:guide id="7" pos="3961" userDrawn="1">
          <p15:clr>
            <a:srgbClr val="F26B43"/>
          </p15:clr>
        </p15:guide>
        <p15:guide id="8" pos="6623" userDrawn="1">
          <p15:clr>
            <a:srgbClr val="F26B43"/>
          </p15:clr>
        </p15:guide>
        <p15:guide id="9" pos="6804" userDrawn="1">
          <p15:clr>
            <a:srgbClr val="F26B43"/>
          </p15:clr>
        </p15:guide>
        <p15:guide id="10" pos="7167" userDrawn="1">
          <p15:clr>
            <a:srgbClr val="F26B43"/>
          </p15:clr>
        </p15:guide>
        <p15:guide id="11" pos="7348" userDrawn="1">
          <p15:clr>
            <a:srgbClr val="F26B43"/>
          </p15:clr>
        </p15:guide>
        <p15:guide id="12" orient="horz" pos="225" userDrawn="1">
          <p15:clr>
            <a:srgbClr val="F26B43"/>
          </p15:clr>
        </p15:guide>
        <p15:guide id="13" orient="horz" pos="467" userDrawn="1">
          <p15:clr>
            <a:srgbClr val="F26B43"/>
          </p15:clr>
        </p15:guide>
        <p15:guide id="14" orient="horz" pos="648" userDrawn="1">
          <p15:clr>
            <a:srgbClr val="F26B43"/>
          </p15:clr>
        </p15:guide>
        <p15:guide id="15" orient="horz" pos="829" userDrawn="1">
          <p15:clr>
            <a:srgbClr val="F26B43"/>
          </p15:clr>
        </p15:guide>
        <p15:guide id="16" orient="horz" pos="1132" userDrawn="1">
          <p15:clr>
            <a:srgbClr val="F26B43"/>
          </p15:clr>
        </p15:guide>
        <p15:guide id="17" orient="horz" pos="1435" userDrawn="1">
          <p15:clr>
            <a:srgbClr val="F26B43"/>
          </p15:clr>
        </p15:guide>
        <p15:guide id="18" orient="horz" pos="2885" userDrawn="1">
          <p15:clr>
            <a:srgbClr val="F26B43"/>
          </p15:clr>
        </p15:guide>
        <p15:guide id="19" orient="horz" pos="3491" userDrawn="1">
          <p15:clr>
            <a:srgbClr val="F26B43"/>
          </p15:clr>
        </p15:guide>
        <p15:guide id="20" orient="horz" pos="3672" userDrawn="1">
          <p15:clr>
            <a:srgbClr val="F26B43"/>
          </p15:clr>
        </p15:guide>
        <p15:guide id="21" orient="horz" pos="3853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86595D1-2F76-051A-4B7A-8296D34AF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31727"/>
            <a:ext cx="10728325" cy="46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32B8A4C-4B13-70E0-CB15-9E2FAFD30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838" y="2349500"/>
            <a:ext cx="10728325" cy="3779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6F2FE4-4116-0F91-53A5-66C81CC83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837" y="6509464"/>
            <a:ext cx="720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0FE988-BFBC-94FC-A172-28D96A2A56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000" y="6509464"/>
            <a:ext cx="2880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E0928D-9528-897B-17A2-1B3022DC7B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2988" y="6509464"/>
            <a:ext cx="252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57C8EE74-886F-EAD5-19B9-16A748825DF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00023" y="225425"/>
            <a:ext cx="1464965" cy="28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026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7537">
          <p15:clr>
            <a:srgbClr val="F26B43"/>
          </p15:clr>
        </p15:guide>
        <p15:guide id="3" pos="143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3861">
          <p15:clr>
            <a:srgbClr val="F26B43"/>
          </p15:clr>
        </p15:guide>
        <p15:guide id="8" pos="7219">
          <p15:clr>
            <a:srgbClr val="F26B43"/>
          </p15:clr>
        </p15:guide>
        <p15:guide id="9" pos="461">
          <p15:clr>
            <a:srgbClr val="F26B43"/>
          </p15:clr>
        </p15:guide>
        <p15:guide id="12" orient="horz" pos="459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86595D1-2F76-051A-4B7A-8296D34AF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31727"/>
            <a:ext cx="10728325" cy="46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32B8A4C-4B13-70E0-CB15-9E2FAFD30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838" y="2349500"/>
            <a:ext cx="10728325" cy="3779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6F2FE4-4116-0F91-53A5-66C81CC83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837" y="6509464"/>
            <a:ext cx="720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0FE988-BFBC-94FC-A172-28D96A2A56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000" y="6509464"/>
            <a:ext cx="2880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E0928D-9528-897B-17A2-1B3022DC7B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2988" y="6509464"/>
            <a:ext cx="252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57C8EE74-886F-EAD5-19B9-16A748825DF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500023" y="225425"/>
            <a:ext cx="1464965" cy="28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937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6" r:id="rId1"/>
    <p:sldLayoutId id="2147484077" r:id="rId2"/>
    <p:sldLayoutId id="2147484078" r:id="rId3"/>
    <p:sldLayoutId id="2147484079" r:id="rId4"/>
    <p:sldLayoutId id="2147484080" r:id="rId5"/>
    <p:sldLayoutId id="2147484081" r:id="rId6"/>
    <p:sldLayoutId id="2147484082" r:id="rId7"/>
    <p:sldLayoutId id="2147484083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  <p:sldLayoutId id="2147484091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7537">
          <p15:clr>
            <a:srgbClr val="F26B43"/>
          </p15:clr>
        </p15:guide>
        <p15:guide id="3" pos="143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3861">
          <p15:clr>
            <a:srgbClr val="F26B43"/>
          </p15:clr>
        </p15:guide>
        <p15:guide id="8" pos="7219">
          <p15:clr>
            <a:srgbClr val="F26B43"/>
          </p15:clr>
        </p15:guide>
        <p15:guide id="9" pos="461">
          <p15:clr>
            <a:srgbClr val="F26B43"/>
          </p15:clr>
        </p15:guide>
        <p15:guide id="12" orient="horz" pos="45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HG-Folge-unten.jp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815"/>
            <a:ext cx="12196800" cy="7384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051" y="1316568"/>
            <a:ext cx="11137900" cy="45127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Zweite Ebene</a:t>
            </a:r>
          </a:p>
          <a:p>
            <a:pPr lvl="6"/>
            <a:r>
              <a:rPr lang="de-DE" dirty="0"/>
              <a:t>Dritte Ebene</a:t>
            </a:r>
          </a:p>
          <a:p>
            <a:pPr lvl="7"/>
            <a:r>
              <a:rPr lang="de-DE" dirty="0"/>
              <a:t>Vier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1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11" y="259838"/>
            <a:ext cx="844800" cy="6057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8520" y="357718"/>
            <a:ext cx="9986433" cy="3831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Foliennummernplatzhalter 6"/>
          <p:cNvSpPr txBox="1">
            <a:spLocks/>
          </p:cNvSpPr>
          <p:nvPr userDrawn="1"/>
        </p:nvSpPr>
        <p:spPr>
          <a:xfrm>
            <a:off x="3232209" y="6489050"/>
            <a:ext cx="8448937" cy="288032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016">
                <a:solidFill>
                  <a:schemeClr val="bg1"/>
                </a:solidFill>
                <a:latin typeface="+mn-lt"/>
                <a:cs typeface="Calibri"/>
              </a:rPr>
              <a:t> </a:t>
            </a:r>
            <a:fld id="{9D26C6B8-7DF4-4F01-8878-A6272B56DAC3}" type="slidenum">
              <a:rPr lang="de-DE" sz="1016" smtClean="0">
                <a:solidFill>
                  <a:schemeClr val="bg1"/>
                </a:solidFill>
                <a:latin typeface="Calibri"/>
                <a:cs typeface="Calibri"/>
              </a:rPr>
              <a:pPr/>
              <a:t>‹Nr.›</a:t>
            </a:fld>
            <a:endParaRPr lang="de-DE" sz="1016">
              <a:solidFill>
                <a:schemeClr val="bg1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0002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</p:sldLayoutIdLst>
  <p:hf hdr="0"/>
  <p:txStyles>
    <p:titleStyle>
      <a:lvl1pPr algn="l" defTabSz="1032310" rtl="0" eaLnBrk="1" latinLnBrk="0" hangingPunct="1">
        <a:lnSpc>
          <a:spcPct val="90000"/>
        </a:lnSpc>
        <a:spcBef>
          <a:spcPct val="0"/>
        </a:spcBef>
        <a:buNone/>
        <a:defRPr sz="3387" b="0" i="0" kern="1200" spc="-113" baseline="0">
          <a:solidFill>
            <a:schemeClr val="tx1"/>
          </a:solidFill>
          <a:latin typeface="Calibri"/>
          <a:ea typeface="+mj-ea"/>
          <a:cs typeface="Calibri"/>
        </a:defRPr>
      </a:lvl1pPr>
    </p:titleStyle>
    <p:bodyStyle>
      <a:lvl1pPr marL="0" indent="0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chemeClr val="tx2"/>
        </a:buClr>
        <a:buSzPct val="85000"/>
        <a:buFont typeface="Arial" panose="020B0604020202020204" pitchFamily="34" charset="0"/>
        <a:buNone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1pPr>
      <a:lvl2pPr marL="206104" indent="-206104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rgbClr val="5E8F1B"/>
        </a:buClr>
        <a:buSzPct val="100000"/>
        <a:buFont typeface="Wingdings" panose="05000000000000000000" pitchFamily="2" charset="2"/>
        <a:buChar char="§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2pPr>
      <a:lvl3pPr marL="406831" indent="-206104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chemeClr val="accent1"/>
        </a:buClr>
        <a:buSzPct val="100000"/>
        <a:buFont typeface="Wingdings" charset="2"/>
        <a:buChar char="§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3pPr>
      <a:lvl4pPr marL="611142" indent="-204311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4pPr>
      <a:lvl5pPr marL="808284" indent="-197143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chemeClr val="tx1"/>
        </a:buClr>
        <a:buSzPct val="100000"/>
        <a:buFont typeface="Wingdings" charset="2"/>
        <a:buChar char="§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5pPr>
      <a:lvl6pPr marL="405038" indent="-405038" algn="l" defTabSz="1032310" rtl="0" eaLnBrk="1" latinLnBrk="0" hangingPunct="1">
        <a:lnSpc>
          <a:spcPts val="2710"/>
        </a:lnSpc>
        <a:spcBef>
          <a:spcPts val="1129"/>
        </a:spcBef>
        <a:buClr>
          <a:srgbClr val="5E8F1B"/>
        </a:buClr>
        <a:buFont typeface="+mj-lt"/>
        <a:buAutoNum type="arabicPeriod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6pPr>
      <a:lvl7pPr marL="811869" indent="-405038" algn="l" defTabSz="1032310" rtl="0" eaLnBrk="1" latinLnBrk="0" hangingPunct="1">
        <a:lnSpc>
          <a:spcPts val="2710"/>
        </a:lnSpc>
        <a:spcBef>
          <a:spcPts val="1129"/>
        </a:spcBef>
        <a:buClr>
          <a:srgbClr val="5E8F1B"/>
        </a:buClr>
        <a:buFont typeface="+mj-lt"/>
        <a:buAutoNum type="arabicPeriod"/>
        <a:defRPr sz="2032" kern="1200">
          <a:solidFill>
            <a:schemeClr val="tx1"/>
          </a:solidFill>
          <a:latin typeface="Calibri"/>
          <a:ea typeface="+mn-ea"/>
          <a:cs typeface="Calibri"/>
        </a:defRPr>
      </a:lvl7pPr>
      <a:lvl8pPr marL="1218698" indent="-405038" algn="l" defTabSz="1032310" rtl="0" eaLnBrk="1" latinLnBrk="0" hangingPunct="1">
        <a:lnSpc>
          <a:spcPts val="2710"/>
        </a:lnSpc>
        <a:spcBef>
          <a:spcPts val="1129"/>
        </a:spcBef>
        <a:buClr>
          <a:srgbClr val="5E8F1B"/>
        </a:buClr>
        <a:buFont typeface="+mj-lt"/>
        <a:buAutoNum type="arabicPeriod"/>
        <a:defRPr sz="2032" kern="1200">
          <a:solidFill>
            <a:schemeClr val="tx1"/>
          </a:solidFill>
          <a:latin typeface="Calibri"/>
          <a:ea typeface="+mn-ea"/>
          <a:cs typeface="Calibri"/>
        </a:defRPr>
      </a:lvl8pPr>
      <a:lvl9pPr marL="1625683" indent="-406421" algn="l" defTabSz="1032310" rtl="0" eaLnBrk="1" latinLnBrk="0" hangingPunct="1">
        <a:lnSpc>
          <a:spcPts val="3161"/>
        </a:lnSpc>
        <a:spcBef>
          <a:spcPts val="1129"/>
        </a:spcBef>
        <a:buClr>
          <a:srgbClr val="5E8F1B"/>
        </a:buClr>
        <a:buFont typeface="+mj-lt"/>
        <a:buAutoNum type="arabicPeriod"/>
        <a:defRPr sz="2258" kern="1200">
          <a:solidFill>
            <a:schemeClr val="tx1"/>
          </a:solidFill>
          <a:latin typeface="Calibri"/>
          <a:ea typeface="+mn-ea"/>
          <a:cs typeface="Calibri"/>
        </a:defRPr>
      </a:lvl9pPr>
    </p:bodyStyle>
    <p:otherStyle>
      <a:defPPr>
        <a:defRPr lang="en-US"/>
      </a:defPPr>
      <a:lvl1pPr marL="0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1pPr>
      <a:lvl2pPr marL="516155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1032310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3pPr>
      <a:lvl4pPr marL="1548464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4pPr>
      <a:lvl5pPr marL="2064619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5pPr>
      <a:lvl6pPr marL="2580774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6pPr>
      <a:lvl7pPr marL="3096929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7pPr>
      <a:lvl8pPr marL="3613083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8pPr>
      <a:lvl9pPr marL="4129237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">
          <p15:clr>
            <a:srgbClr val="F26B43"/>
          </p15:clr>
        </p15:guide>
        <p15:guide id="2" pos="392">
          <p15:clr>
            <a:srgbClr val="F26B43"/>
          </p15:clr>
        </p15:guide>
        <p15:guide id="3" pos="606">
          <p15:clr>
            <a:srgbClr val="F26B43"/>
          </p15:clr>
        </p15:guide>
        <p15:guide id="4" pos="1035">
          <p15:clr>
            <a:srgbClr val="F26B43"/>
          </p15:clr>
        </p15:guide>
        <p15:guide id="5" pos="1248">
          <p15:clr>
            <a:srgbClr val="F26B43"/>
          </p15:clr>
        </p15:guide>
        <p15:guide id="6" pos="4393">
          <p15:clr>
            <a:srgbClr val="F26B43"/>
          </p15:clr>
        </p15:guide>
        <p15:guide id="7" pos="4678">
          <p15:clr>
            <a:srgbClr val="F26B43"/>
          </p15:clr>
        </p15:guide>
        <p15:guide id="8" pos="7823">
          <p15:clr>
            <a:srgbClr val="F26B43"/>
          </p15:clr>
        </p15:guide>
        <p15:guide id="9" pos="8036">
          <p15:clr>
            <a:srgbClr val="F26B43"/>
          </p15:clr>
        </p15:guide>
        <p15:guide id="10" pos="8465">
          <p15:clr>
            <a:srgbClr val="F26B43"/>
          </p15:clr>
        </p15:guide>
        <p15:guide id="11" pos="8679">
          <p15:clr>
            <a:srgbClr val="F26B43"/>
          </p15:clr>
        </p15:guide>
        <p15:guide id="12" orient="horz" pos="225">
          <p15:clr>
            <a:srgbClr val="F26B43"/>
          </p15:clr>
        </p15:guide>
        <p15:guide id="13" orient="horz" pos="467">
          <p15:clr>
            <a:srgbClr val="F26B43"/>
          </p15:clr>
        </p15:guide>
        <p15:guide id="14" orient="horz" pos="648">
          <p15:clr>
            <a:srgbClr val="F26B43"/>
          </p15:clr>
        </p15:guide>
        <p15:guide id="15" orient="horz" pos="829">
          <p15:clr>
            <a:srgbClr val="F26B43"/>
          </p15:clr>
        </p15:guide>
        <p15:guide id="16" orient="horz" pos="1132">
          <p15:clr>
            <a:srgbClr val="F26B43"/>
          </p15:clr>
        </p15:guide>
        <p15:guide id="17" orient="horz" pos="1435">
          <p15:clr>
            <a:srgbClr val="F26B43"/>
          </p15:clr>
        </p15:guide>
        <p15:guide id="18" orient="horz" pos="2885">
          <p15:clr>
            <a:srgbClr val="F26B43"/>
          </p15:clr>
        </p15:guide>
        <p15:guide id="19" orient="horz" pos="3491">
          <p15:clr>
            <a:srgbClr val="F26B43"/>
          </p15:clr>
        </p15:guide>
        <p15:guide id="20" orient="horz" pos="3672">
          <p15:clr>
            <a:srgbClr val="F26B43"/>
          </p15:clr>
        </p15:guide>
        <p15:guide id="21" orient="horz" pos="3853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Bild 4" descr="HG-Folge-unten.jpg"/>
          <p:cNvPicPr>
            <a:picLocks noChangeAspect="1"/>
          </p:cNvPicPr>
          <p:nvPr userDrawn="1"/>
        </p:nvPicPr>
        <p:blipFill>
          <a:blip r:embed="rId8"/>
          <a:stretch/>
        </p:blipFill>
        <p:spPr bwMode="auto">
          <a:xfrm>
            <a:off x="0" y="6119811"/>
            <a:ext cx="12196800" cy="738479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27051" y="1316567"/>
            <a:ext cx="11137900" cy="45127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  <a:p>
            <a:pPr lvl="5">
              <a:defRPr/>
            </a:pPr>
            <a:r>
              <a:rPr lang="de-DE"/>
              <a:t>Zweite Ebene</a:t>
            </a:r>
            <a:endParaRPr/>
          </a:p>
          <a:p>
            <a:pPr lvl="6">
              <a:defRPr/>
            </a:pPr>
            <a:r>
              <a:rPr lang="de-DE"/>
              <a:t>Dritte Ebene</a:t>
            </a:r>
            <a:endParaRPr/>
          </a:p>
          <a:p>
            <a:pPr lvl="7">
              <a:defRPr/>
            </a:pPr>
            <a:r>
              <a:rPr lang="de-DE"/>
              <a:t>Vierte Ebene</a:t>
            </a:r>
            <a:endParaRPr/>
          </a:p>
        </p:txBody>
      </p:sp>
      <p:sp>
        <p:nvSpPr>
          <p:cNvPr id="7" name="Rechteck 3"/>
          <p:cNvSpPr/>
          <p:nvPr userDrawn="1"/>
        </p:nvSpPr>
        <p:spPr bwMode="auto">
          <a:xfrm>
            <a:off x="0" y="0"/>
            <a:ext cx="12192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3200" b="0" i="0">
              <a:cs typeface="Calibri"/>
            </a:endParaRPr>
          </a:p>
        </p:txBody>
      </p:sp>
      <p:pic>
        <p:nvPicPr>
          <p:cNvPr id="8" name="Grafik 6"/>
          <p:cNvPicPr>
            <a:picLocks noChangeAspect="1"/>
          </p:cNvPicPr>
          <p:nvPr userDrawn="1"/>
        </p:nvPicPr>
        <p:blipFill>
          <a:blip r:embed="rId9"/>
          <a:stretch/>
        </p:blipFill>
        <p:spPr bwMode="auto">
          <a:xfrm>
            <a:off x="541011" y="259834"/>
            <a:ext cx="844799" cy="605705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1678518" y="357718"/>
            <a:ext cx="9986433" cy="3831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Foliennummernplatzhalter 6">
            <a:extLst>
              <a:ext uri="{FF2B5EF4-FFF2-40B4-BE49-F238E27FC236}">
                <a16:creationId xmlns:a16="http://schemas.microsoft.com/office/drawing/2014/main" id="{BE053A04-6612-9CCB-56C1-9DE41443AAC0}"/>
              </a:ext>
            </a:extLst>
          </p:cNvPr>
          <p:cNvSpPr txBox="1"/>
          <p:nvPr userDrawn="1"/>
        </p:nvSpPr>
        <p:spPr bwMode="auto">
          <a:xfrm>
            <a:off x="3194107" y="6489050"/>
            <a:ext cx="8448937" cy="288032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de-DE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 sz="1200" b="0" i="0" dirty="0">
                <a:solidFill>
                  <a:schemeClr val="bg1"/>
                </a:solidFill>
                <a:latin typeface="Calibri"/>
                <a:cs typeface="Calibri"/>
              </a:rPr>
              <a:t> Aktuelles aus Modul 3 Quartiere | Tobias Beckhölter | 10.04.2024 | Seite </a:t>
            </a:r>
            <a:fld id="{9D26C6B8-7DF4-4F01-8878-A6272B56DAC3}" type="slidenum">
              <a:rPr lang="de-DE" sz="1200" b="0" i="0" smtClean="0">
                <a:solidFill>
                  <a:schemeClr val="bg1"/>
                </a:solidFill>
                <a:latin typeface="Calibri"/>
                <a:cs typeface="Calibri"/>
              </a:rPr>
              <a:t>‹Nr.›</a:t>
            </a:fld>
            <a:endParaRPr lang="de-DE" sz="1200" b="0" i="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61120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</p:sldLayoutIdLst>
  <p:hf hdr="0"/>
  <p:txStyles>
    <p:titleStyle>
      <a:lvl1pPr algn="l" defTabSz="1219170">
        <a:lnSpc>
          <a:spcPct val="90000"/>
        </a:lnSpc>
        <a:spcBef>
          <a:spcPts val="0"/>
        </a:spcBef>
        <a:buNone/>
        <a:defRPr sz="3000" b="0" i="0" spc="-133">
          <a:solidFill>
            <a:schemeClr val="tx1"/>
          </a:solidFill>
          <a:latin typeface="Calibri"/>
          <a:ea typeface="+mj-ea"/>
          <a:cs typeface="Calibri"/>
        </a:defRPr>
      </a:lvl1pPr>
    </p:titleStyle>
    <p:bodyStyle>
      <a:lvl1pPr marL="0" indent="0" algn="l" defTabSz="1219170">
        <a:lnSpc>
          <a:spcPts val="3200"/>
        </a:lnSpc>
        <a:spcBef>
          <a:spcPts val="1333"/>
        </a:spcBef>
        <a:spcAft>
          <a:spcPts val="0"/>
        </a:spcAft>
        <a:buClr>
          <a:schemeClr val="tx2"/>
        </a:buClr>
        <a:buSzPct val="85000"/>
        <a:buFont typeface="Arial"/>
        <a:buNone/>
        <a:defRPr sz="1800" b="0" i="0">
          <a:solidFill>
            <a:schemeClr val="tx1"/>
          </a:solidFill>
          <a:latin typeface="Calibri"/>
          <a:ea typeface="+mn-ea"/>
          <a:cs typeface="Calibri"/>
        </a:defRPr>
      </a:lvl1pPr>
      <a:lvl2pPr marL="243411" indent="-243411" algn="l" defTabSz="1219170">
        <a:lnSpc>
          <a:spcPts val="3200"/>
        </a:lnSpc>
        <a:spcBef>
          <a:spcPts val="1333"/>
        </a:spcBef>
        <a:spcAft>
          <a:spcPts val="0"/>
        </a:spcAft>
        <a:buClr>
          <a:srgbClr val="5E8F1B"/>
        </a:buClr>
        <a:buSzPct val="100000"/>
        <a:buFont typeface="Wingdings"/>
        <a:buChar char="§"/>
        <a:defRPr sz="1800" b="0" i="0">
          <a:solidFill>
            <a:schemeClr val="tx1"/>
          </a:solidFill>
          <a:latin typeface="Calibri"/>
          <a:ea typeface="+mn-ea"/>
          <a:cs typeface="Calibri"/>
        </a:defRPr>
      </a:lvl2pPr>
      <a:lvl3pPr marL="480472" indent="-243411" algn="l" defTabSz="1219170">
        <a:lnSpc>
          <a:spcPts val="3200"/>
        </a:lnSpc>
        <a:spcBef>
          <a:spcPts val="1333"/>
        </a:spcBef>
        <a:spcAft>
          <a:spcPts val="0"/>
        </a:spcAft>
        <a:buClr>
          <a:schemeClr val="accent1"/>
        </a:buClr>
        <a:buSzPct val="100000"/>
        <a:buFont typeface="Wingdings"/>
        <a:buChar char="§"/>
        <a:defRPr sz="1800" b="0" i="0">
          <a:solidFill>
            <a:schemeClr val="tx1"/>
          </a:solidFill>
          <a:latin typeface="Calibri"/>
          <a:ea typeface="+mn-ea"/>
          <a:cs typeface="Calibri"/>
        </a:defRPr>
      </a:lvl3pPr>
      <a:lvl4pPr marL="721766" indent="-241294" algn="l" defTabSz="1219170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Font typeface="Wingdings"/>
        <a:buChar char="§"/>
        <a:defRPr sz="1800" b="0" i="0">
          <a:solidFill>
            <a:schemeClr val="tx1"/>
          </a:solidFill>
          <a:latin typeface="Calibri"/>
          <a:ea typeface="+mn-ea"/>
          <a:cs typeface="Calibri"/>
        </a:defRPr>
      </a:lvl4pPr>
      <a:lvl5pPr marL="954593" indent="-232828" algn="l" defTabSz="1219170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SzPct val="100000"/>
        <a:buFont typeface="Wingdings"/>
        <a:buChar char="§"/>
        <a:defRPr sz="1800" b="0" i="0">
          <a:solidFill>
            <a:schemeClr val="tx1"/>
          </a:solidFill>
          <a:latin typeface="Calibri"/>
          <a:ea typeface="+mn-ea"/>
          <a:cs typeface="Calibri"/>
        </a:defRPr>
      </a:lvl5pPr>
      <a:lvl6pPr marL="478355" indent="-478355" algn="l" defTabSz="1219170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1800" b="0" i="0">
          <a:solidFill>
            <a:schemeClr val="tx1"/>
          </a:solidFill>
          <a:latin typeface="Calibri"/>
          <a:ea typeface="+mn-ea"/>
          <a:cs typeface="Calibri"/>
        </a:defRPr>
      </a:lvl6pPr>
      <a:lvl7pPr marL="958827" indent="-478355" algn="l" defTabSz="1219170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1800" b="0" i="0">
          <a:solidFill>
            <a:schemeClr val="tx1"/>
          </a:solidFill>
          <a:latin typeface="Calibri"/>
          <a:ea typeface="+mn-ea"/>
          <a:cs typeface="Calibri"/>
        </a:defRPr>
      </a:lvl7pPr>
      <a:lvl8pPr marL="1439297" indent="-478355" algn="l" defTabSz="1219170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1800" b="0" i="0">
          <a:solidFill>
            <a:schemeClr val="tx1"/>
          </a:solidFill>
          <a:latin typeface="Calibri"/>
          <a:ea typeface="+mn-ea"/>
          <a:cs typeface="Calibri"/>
        </a:defRPr>
      </a:lvl8pPr>
      <a:lvl9pPr marL="1919952" indent="-479988" algn="l" defTabSz="1219170">
        <a:lnSpc>
          <a:spcPts val="3733"/>
        </a:lnSpc>
        <a:spcBef>
          <a:spcPts val="1333"/>
        </a:spcBef>
        <a:buClr>
          <a:srgbClr val="5E8F1B"/>
        </a:buClr>
        <a:buFont typeface="+mj-lt"/>
        <a:buAutoNum type="arabicPeriod"/>
        <a:defRPr sz="2650">
          <a:solidFill>
            <a:schemeClr val="tx1"/>
          </a:solidFill>
          <a:latin typeface="Calibri"/>
          <a:ea typeface="+mn-ea"/>
          <a:cs typeface="Calibri"/>
        </a:defRPr>
      </a:lvl9pPr>
    </p:bodyStyle>
    <p:otherStyle>
      <a:defPPr>
        <a:defRPr lang="en-US"/>
      </a:defPPr>
      <a:lvl1pPr marL="0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>
          <a:xfrm>
            <a:off x="157479" y="315895"/>
            <a:ext cx="682260" cy="585787"/>
            <a:chOff x="188913" y="190500"/>
            <a:chExt cx="719137" cy="720725"/>
          </a:xfrm>
        </p:grpSpPr>
        <p:sp>
          <p:nvSpPr>
            <p:cNvPr id="10" name="AutoShape 148"/>
            <p:cNvSpPr>
              <a:spLocks noChangeArrowheads="1"/>
            </p:cNvSpPr>
            <p:nvPr/>
          </p:nvSpPr>
          <p:spPr bwMode="auto">
            <a:xfrm>
              <a:off x="188913" y="190500"/>
              <a:ext cx="719137" cy="720725"/>
            </a:xfrm>
            <a:prstGeom prst="upArrow">
              <a:avLst>
                <a:gd name="adj1" fmla="val 100000"/>
                <a:gd name="adj2" fmla="val 43861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AutoShape 149"/>
            <p:cNvSpPr>
              <a:spLocks noChangeArrowheads="1"/>
            </p:cNvSpPr>
            <p:nvPr/>
          </p:nvSpPr>
          <p:spPr bwMode="auto">
            <a:xfrm>
              <a:off x="258763" y="285750"/>
              <a:ext cx="577850" cy="557213"/>
            </a:xfrm>
            <a:prstGeom prst="upArrow">
              <a:avLst>
                <a:gd name="adj1" fmla="val 100000"/>
                <a:gd name="adj2" fmla="val 45194"/>
              </a:avLst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Rectangle 153"/>
            <p:cNvSpPr>
              <a:spLocks noChangeArrowheads="1"/>
            </p:cNvSpPr>
            <p:nvPr/>
          </p:nvSpPr>
          <p:spPr bwMode="auto">
            <a:xfrm>
              <a:off x="376238" y="690563"/>
              <a:ext cx="107950" cy="152400"/>
            </a:xfrm>
            <a:prstGeom prst="rect">
              <a:avLst/>
            </a:prstGeom>
            <a:solidFill>
              <a:srgbClr val="A5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0000" rIns="900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AutoShape 155"/>
            <p:cNvSpPr>
              <a:spLocks noChangeArrowheads="1"/>
            </p:cNvSpPr>
            <p:nvPr/>
          </p:nvSpPr>
          <p:spPr bwMode="auto">
            <a:xfrm>
              <a:off x="457200" y="731838"/>
              <a:ext cx="138113" cy="73025"/>
            </a:xfrm>
            <a:prstGeom prst="rightArrow">
              <a:avLst>
                <a:gd name="adj1" fmla="val 45000"/>
                <a:gd name="adj2" fmla="val 71738"/>
              </a:avLst>
            </a:prstGeom>
            <a:solidFill>
              <a:srgbClr val="FF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0000" rIns="900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981" y="412771"/>
            <a:ext cx="717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0873F2D-1401-4A23-A41B-87100831EC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tangle 1078"/>
          <p:cNvSpPr>
            <a:spLocks noChangeArrowheads="1"/>
          </p:cNvSpPr>
          <p:nvPr userDrawn="1"/>
        </p:nvSpPr>
        <p:spPr bwMode="auto">
          <a:xfrm>
            <a:off x="0" y="953276"/>
            <a:ext cx="12192000" cy="72000"/>
          </a:xfrm>
          <a:prstGeom prst="rect">
            <a:avLst/>
          </a:prstGeom>
          <a:solidFill>
            <a:srgbClr val="B3245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de-DE" sz="1800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157479" y="5852860"/>
            <a:ext cx="863602" cy="870518"/>
            <a:chOff x="240608" y="4442918"/>
            <a:chExt cx="863602" cy="870518"/>
          </a:xfrm>
        </p:grpSpPr>
        <p:sp>
          <p:nvSpPr>
            <p:cNvPr id="15" name="Rectangle 1072"/>
            <p:cNvSpPr>
              <a:spLocks noChangeArrowheads="1"/>
            </p:cNvSpPr>
            <p:nvPr/>
          </p:nvSpPr>
          <p:spPr bwMode="auto">
            <a:xfrm>
              <a:off x="240608" y="4658641"/>
              <a:ext cx="863601" cy="654795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2395E"/>
                  </a:solidFill>
                  <a:miter lim="800000"/>
                  <a:headEnd/>
                  <a:tailEnd type="none" w="med" len="lg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 anchor="ctr">
              <a:spAutoFit/>
            </a:bodyPr>
            <a:lstStyle/>
            <a:p>
              <a:endParaRPr lang="de-DE" sz="1800"/>
            </a:p>
          </p:txBody>
        </p:sp>
        <p:sp>
          <p:nvSpPr>
            <p:cNvPr id="16" name="Line 1073"/>
            <p:cNvSpPr>
              <a:spLocks noChangeShapeType="1"/>
            </p:cNvSpPr>
            <p:nvPr/>
          </p:nvSpPr>
          <p:spPr bwMode="auto">
            <a:xfrm>
              <a:off x="240609" y="4931466"/>
              <a:ext cx="863601" cy="0"/>
            </a:xfrm>
            <a:prstGeom prst="line">
              <a:avLst/>
            </a:prstGeom>
            <a:noFill/>
            <a:ln w="12700">
              <a:solidFill>
                <a:srgbClr val="C0C0C0"/>
              </a:solidFill>
              <a:round/>
              <a:headEnd/>
              <a:tailEnd type="non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endParaRPr lang="de-DE" sz="1800"/>
            </a:p>
          </p:txBody>
        </p:sp>
        <p:sp>
          <p:nvSpPr>
            <p:cNvPr id="17" name="Rectangle 1074"/>
            <p:cNvSpPr>
              <a:spLocks noChangeArrowheads="1"/>
            </p:cNvSpPr>
            <p:nvPr/>
          </p:nvSpPr>
          <p:spPr bwMode="auto">
            <a:xfrm>
              <a:off x="666347" y="4934037"/>
              <a:ext cx="435425" cy="37939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99CC"/>
                  </a:solidFill>
                  <a:miter lim="800000"/>
                  <a:headEnd/>
                  <a:tailEnd type="none" w="med" len="lg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 anchor="ctr">
              <a:spAutoFit/>
            </a:bodyPr>
            <a:lstStyle/>
            <a:p>
              <a:endParaRPr lang="de-DE" sz="1800"/>
            </a:p>
          </p:txBody>
        </p:sp>
        <p:sp>
          <p:nvSpPr>
            <p:cNvPr id="18" name="Text Box 1075"/>
            <p:cNvSpPr txBox="1">
              <a:spLocks noChangeArrowheads="1"/>
            </p:cNvSpPr>
            <p:nvPr/>
          </p:nvSpPr>
          <p:spPr bwMode="auto">
            <a:xfrm>
              <a:off x="327999" y="5034654"/>
              <a:ext cx="336550" cy="2635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99CC"/>
                  </a:solidFill>
                  <a:miter lim="800000"/>
                  <a:headEnd/>
                  <a:tailEnd type="none" w="med" len="lg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sz="1100" b="1" dirty="0">
                  <a:solidFill>
                    <a:srgbClr val="D2D2D2"/>
                  </a:solidFill>
                </a:rPr>
                <a:t>FG</a:t>
              </a:r>
            </a:p>
          </p:txBody>
        </p:sp>
        <p:sp>
          <p:nvSpPr>
            <p:cNvPr id="19" name="Text Box 1076"/>
            <p:cNvSpPr txBox="1">
              <a:spLocks noChangeArrowheads="1"/>
            </p:cNvSpPr>
            <p:nvPr/>
          </p:nvSpPr>
          <p:spPr bwMode="auto">
            <a:xfrm>
              <a:off x="596209" y="5034654"/>
              <a:ext cx="427567" cy="2635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99CC"/>
                  </a:solidFill>
                  <a:miter lim="800000"/>
                  <a:headEnd/>
                  <a:tailEnd type="none" w="med" len="lg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sz="1100" b="1" dirty="0">
                  <a:solidFill>
                    <a:srgbClr val="969696"/>
                  </a:solidFill>
                </a:rPr>
                <a:t>TGA</a:t>
              </a:r>
            </a:p>
          </p:txBody>
        </p:sp>
        <p:sp>
          <p:nvSpPr>
            <p:cNvPr id="20" name="Line 1077"/>
            <p:cNvSpPr>
              <a:spLocks noChangeShapeType="1"/>
            </p:cNvSpPr>
            <p:nvPr/>
          </p:nvSpPr>
          <p:spPr bwMode="auto">
            <a:xfrm rot="16200000">
              <a:off x="345011" y="4986038"/>
              <a:ext cx="654795" cy="0"/>
            </a:xfrm>
            <a:prstGeom prst="line">
              <a:avLst/>
            </a:prstGeom>
            <a:noFill/>
            <a:ln w="12700">
              <a:solidFill>
                <a:srgbClr val="C0C0C0"/>
              </a:solidFill>
              <a:round/>
              <a:headEnd/>
              <a:tailEnd type="non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/>
            <a:p>
              <a:endParaRPr lang="de-DE" sz="1800"/>
            </a:p>
          </p:txBody>
        </p:sp>
        <p:pic>
          <p:nvPicPr>
            <p:cNvPr id="21" name="Picture 1070" descr="Logo Uni Kassel a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608" y="4442918"/>
              <a:ext cx="863601" cy="213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0491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</p:sldLayoutIdLst>
  <p:hf hdr="0"/>
  <p:txStyles>
    <p:titleStyle>
      <a:lvl1pPr algn="r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766987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766987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46389" y="6356351"/>
            <a:ext cx="6858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B06CE68-6D03-4F6E-842F-D4F026567FA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0740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30238" indent="-255588" algn="l" defTabSz="914400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95336" y="374698"/>
            <a:ext cx="9269309" cy="251807"/>
          </a:xfrm>
          <a:prstGeom prst="rect">
            <a:avLst/>
          </a:prstGeom>
          <a:noFill/>
        </p:spPr>
        <p:txBody>
          <a:bodyPr/>
          <a:lstStyle>
            <a:lvl1pPr algn="r">
              <a:defRPr sz="800" baseline="0">
                <a:latin typeface="Arial" panose="020B0604020202020204" pitchFamily="34" charset="0"/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917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53">
          <p15:clr>
            <a:srgbClr val="F26B43"/>
          </p15:clr>
        </p15:guide>
        <p15:guide id="3" pos="7348">
          <p15:clr>
            <a:srgbClr val="F26B43"/>
          </p15:clr>
        </p15:guide>
        <p15:guide id="4" orient="horz" pos="799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1723">
          <p15:clr>
            <a:srgbClr val="F26B43"/>
          </p15:clr>
        </p15:guide>
        <p15:guide id="7" pos="1875">
          <p15:clr>
            <a:srgbClr val="F26B43"/>
          </p15:clr>
        </p15:guide>
        <p15:guide id="8" pos="3115">
          <p15:clr>
            <a:srgbClr val="F26B43"/>
          </p15:clr>
        </p15:guide>
        <p15:guide id="9" pos="3265">
          <p15:clr>
            <a:srgbClr val="F26B43"/>
          </p15:clr>
        </p15:guide>
        <p15:guide id="10" pos="4505">
          <p15:clr>
            <a:srgbClr val="F26B43"/>
          </p15:clr>
        </p15:guide>
        <p15:guide id="11" pos="4656">
          <p15:clr>
            <a:srgbClr val="F26B43"/>
          </p15:clr>
        </p15:guide>
        <p15:guide id="12" pos="5927">
          <p15:clr>
            <a:srgbClr val="F26B43"/>
          </p15:clr>
        </p15:guide>
        <p15:guide id="13" pos="607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79B758B-4E20-590E-5D49-9E234AFC6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0F71979-6BD4-2611-9C5D-F64451FDD7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8DC549B-AEF6-9C0E-462E-DF9A85777B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51993E-751C-3680-5AA2-753B8C3A18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49566BF-C275-33C5-FD59-068CA2887C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1392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  <p:sldLayoutId id="2147484122" r:id="rId4"/>
    <p:sldLayoutId id="2147484123" r:id="rId5"/>
    <p:sldLayoutId id="2147484124" r:id="rId6"/>
    <p:sldLayoutId id="2147484125" r:id="rId7"/>
    <p:sldLayoutId id="2147484126" r:id="rId8"/>
    <p:sldLayoutId id="2147484127" r:id="rId9"/>
    <p:sldLayoutId id="2147484128" r:id="rId10"/>
    <p:sldLayoutId id="2147484129" r:id="rId11"/>
    <p:sldLayoutId id="2147484130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HG-Folge-unten.jp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19811"/>
            <a:ext cx="12196800" cy="7384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051" y="1316567"/>
            <a:ext cx="11137900" cy="45127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Zweite Ebene</a:t>
            </a:r>
          </a:p>
          <a:p>
            <a:pPr lvl="6"/>
            <a:r>
              <a:rPr lang="de-DE" dirty="0"/>
              <a:t>Dritte Ebene</a:t>
            </a:r>
          </a:p>
          <a:p>
            <a:pPr lvl="7"/>
            <a:r>
              <a:rPr lang="de-DE" dirty="0"/>
              <a:t>Vier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11" y="259834"/>
            <a:ext cx="844800" cy="6057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8518" y="357718"/>
            <a:ext cx="9986433" cy="3831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16" r:id="rId10"/>
  </p:sldLayoutIdLst>
  <p:hf hd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000" b="0" i="0" kern="1200" spc="-133" baseline="0">
          <a:solidFill>
            <a:schemeClr val="tx1"/>
          </a:solidFill>
          <a:latin typeface="Calibri"/>
          <a:ea typeface="+mj-ea"/>
          <a:cs typeface="Calibri"/>
        </a:defRPr>
      </a:lvl1pPr>
    </p:titleStyle>
    <p:bodyStyle>
      <a:lvl1pPr marL="0" indent="0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2"/>
        </a:buClr>
        <a:buSzPct val="85000"/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1pPr>
      <a:lvl2pPr marL="243411" indent="-243411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rgbClr val="5E8F1B"/>
        </a:buClr>
        <a:buSzPct val="100000"/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2pPr>
      <a:lvl3pPr marL="480472" indent="-243411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accent1"/>
        </a:buClr>
        <a:buSzPct val="100000"/>
        <a:buFont typeface="Wingdings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3pPr>
      <a:lvl4pPr marL="721766" indent="-241294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4pPr>
      <a:lvl5pPr marL="954593" indent="-232828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SzPct val="100000"/>
        <a:buFont typeface="Wingdings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5pPr>
      <a:lvl6pPr marL="478355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6pPr>
      <a:lvl7pPr marL="958827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>
          <a:solidFill>
            <a:schemeClr val="tx1"/>
          </a:solidFill>
          <a:latin typeface="Calibri"/>
          <a:ea typeface="+mn-ea"/>
          <a:cs typeface="Calibri"/>
        </a:defRPr>
      </a:lvl7pPr>
      <a:lvl8pPr marL="1439297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>
          <a:solidFill>
            <a:schemeClr val="tx1"/>
          </a:solidFill>
          <a:latin typeface="Calibri"/>
          <a:ea typeface="+mn-ea"/>
          <a:cs typeface="Calibri"/>
        </a:defRPr>
      </a:lvl8pPr>
      <a:lvl9pPr marL="1919952" indent="-479988" algn="l" defTabSz="1219170" rtl="0" eaLnBrk="1" latinLnBrk="0" hangingPunct="1">
        <a:lnSpc>
          <a:spcPts val="3733"/>
        </a:lnSpc>
        <a:spcBef>
          <a:spcPts val="1333"/>
        </a:spcBef>
        <a:buClr>
          <a:srgbClr val="5E8F1B"/>
        </a:buClr>
        <a:buFont typeface="+mj-lt"/>
        <a:buAutoNum type="arabicPeriod"/>
        <a:defRPr sz="2667" kern="1200">
          <a:solidFill>
            <a:schemeClr val="tx1"/>
          </a:solidFill>
          <a:latin typeface="Calibri"/>
          <a:ea typeface="+mn-ea"/>
          <a:cs typeface="Calibri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" userDrawn="1">
          <p15:clr>
            <a:srgbClr val="F26B43"/>
          </p15:clr>
        </p15:guide>
        <p15:guide id="2" pos="332" userDrawn="1">
          <p15:clr>
            <a:srgbClr val="F26B43"/>
          </p15:clr>
        </p15:guide>
        <p15:guide id="3" pos="513" userDrawn="1">
          <p15:clr>
            <a:srgbClr val="F26B43"/>
          </p15:clr>
        </p15:guide>
        <p15:guide id="4" pos="876" userDrawn="1">
          <p15:clr>
            <a:srgbClr val="F26B43"/>
          </p15:clr>
        </p15:guide>
        <p15:guide id="5" pos="1057" userDrawn="1">
          <p15:clr>
            <a:srgbClr val="F26B43"/>
          </p15:clr>
        </p15:guide>
        <p15:guide id="6" pos="3719" userDrawn="1">
          <p15:clr>
            <a:srgbClr val="F26B43"/>
          </p15:clr>
        </p15:guide>
        <p15:guide id="7" pos="3961" userDrawn="1">
          <p15:clr>
            <a:srgbClr val="F26B43"/>
          </p15:clr>
        </p15:guide>
        <p15:guide id="8" pos="6623" userDrawn="1">
          <p15:clr>
            <a:srgbClr val="F26B43"/>
          </p15:clr>
        </p15:guide>
        <p15:guide id="9" pos="6804" userDrawn="1">
          <p15:clr>
            <a:srgbClr val="F26B43"/>
          </p15:clr>
        </p15:guide>
        <p15:guide id="10" pos="7167" userDrawn="1">
          <p15:clr>
            <a:srgbClr val="F26B43"/>
          </p15:clr>
        </p15:guide>
        <p15:guide id="11" pos="7348" userDrawn="1">
          <p15:clr>
            <a:srgbClr val="F26B43"/>
          </p15:clr>
        </p15:guide>
        <p15:guide id="12" orient="horz" pos="225" userDrawn="1">
          <p15:clr>
            <a:srgbClr val="F26B43"/>
          </p15:clr>
        </p15:guide>
        <p15:guide id="13" orient="horz" pos="467" userDrawn="1">
          <p15:clr>
            <a:srgbClr val="F26B43"/>
          </p15:clr>
        </p15:guide>
        <p15:guide id="14" orient="horz" pos="648" userDrawn="1">
          <p15:clr>
            <a:srgbClr val="F26B43"/>
          </p15:clr>
        </p15:guide>
        <p15:guide id="15" orient="horz" pos="829" userDrawn="1">
          <p15:clr>
            <a:srgbClr val="F26B43"/>
          </p15:clr>
        </p15:guide>
        <p15:guide id="16" orient="horz" pos="1132" userDrawn="1">
          <p15:clr>
            <a:srgbClr val="F26B43"/>
          </p15:clr>
        </p15:guide>
        <p15:guide id="17" orient="horz" pos="1435" userDrawn="1">
          <p15:clr>
            <a:srgbClr val="F26B43"/>
          </p15:clr>
        </p15:guide>
        <p15:guide id="18" orient="horz" pos="2885" userDrawn="1">
          <p15:clr>
            <a:srgbClr val="F26B43"/>
          </p15:clr>
        </p15:guide>
        <p15:guide id="19" orient="horz" pos="3491" userDrawn="1">
          <p15:clr>
            <a:srgbClr val="F26B43"/>
          </p15:clr>
        </p15:guide>
        <p15:guide id="20" orient="horz" pos="3672" userDrawn="1">
          <p15:clr>
            <a:srgbClr val="F26B43"/>
          </p15:clr>
        </p15:guide>
        <p15:guide id="21" orient="horz" pos="385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59B624-E9F5-45EE-859B-4B61E9853E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432" y="65129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8" name="Rectangle 89">
            <a:extLst>
              <a:ext uri="{FF2B5EF4-FFF2-40B4-BE49-F238E27FC236}">
                <a16:creationId xmlns:a16="http://schemas.microsoft.com/office/drawing/2014/main" id="{D83CB0F3-7696-4670-ACF9-3DDE480552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4432" y="764704"/>
            <a:ext cx="11520000" cy="57150"/>
          </a:xfrm>
          <a:prstGeom prst="rect">
            <a:avLst/>
          </a:prstGeom>
          <a:solidFill>
            <a:srgbClr val="777777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800"/>
          </a:p>
        </p:txBody>
      </p:sp>
      <p:sp>
        <p:nvSpPr>
          <p:cNvPr id="9" name="Rectangle 257">
            <a:extLst>
              <a:ext uri="{FF2B5EF4-FFF2-40B4-BE49-F238E27FC236}">
                <a16:creationId xmlns:a16="http://schemas.microsoft.com/office/drawing/2014/main" id="{FF4291F7-5678-4FF7-A77C-147210461A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5359" y="6499944"/>
            <a:ext cx="11520000" cy="25400"/>
          </a:xfrm>
          <a:prstGeom prst="rect">
            <a:avLst/>
          </a:prstGeom>
          <a:solidFill>
            <a:srgbClr val="777777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500"/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A7E1325A-EF09-4E09-959D-43D0FF115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62B6589B-80C1-424E-B1C2-85D182E5BF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7F29CAAE-37C5-4DE8-9299-B02E780A3F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3443" y="651914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046AAB41-6745-411C-A1F7-F6E9746F9F7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B4DB612-1219-5B98-B117-028C61375F0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74645" y="219986"/>
            <a:ext cx="3291362" cy="471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330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6A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68BF779-83A3-89DA-ECE7-B02905442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506C17-10FD-E298-2FF8-BA069F706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1984DF-1419-0681-FB91-28EC041159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8CC5DD-83F6-97F3-DD1D-8A2A75604E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0D62C4-F395-904F-8D29-0CD9AC18D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Bild 2" descr="HG-Start.jpg">
            <a:extLst>
              <a:ext uri="{FF2B5EF4-FFF2-40B4-BE49-F238E27FC236}">
                <a16:creationId xmlns:a16="http://schemas.microsoft.com/office/drawing/2014/main" id="{013A7D63-A6A1-2417-F18C-A8414152D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27"/>
          <a:stretch/>
        </p:blipFill>
        <p:spPr>
          <a:xfrm>
            <a:off x="0" y="6492874"/>
            <a:ext cx="12192000" cy="36512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357CB2F-6725-9E6A-AAC9-DB54B6CC9490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129" y="122959"/>
            <a:ext cx="2284800" cy="1190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199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0258837" y="6373630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9013446" y="6375600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3200" y="6372000"/>
            <a:ext cx="1011600" cy="407267"/>
          </a:xfrm>
          <a:prstGeom prst="rect">
            <a:avLst/>
          </a:prstGeom>
        </p:spPr>
      </p:pic>
      <p:pic>
        <p:nvPicPr>
          <p:cNvPr id="11" name="Grafik 10"/>
          <p:cNvPicPr>
            <a:picLocks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800" y="6379200"/>
            <a:ext cx="1429200" cy="3924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600" y="6350400"/>
            <a:ext cx="2225067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139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3" r:id="rId13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57">
          <p15:clr>
            <a:srgbClr val="F26B43"/>
          </p15:clr>
        </p15:guide>
        <p15:guide id="2" orient="horz" pos="2863">
          <p15:clr>
            <a:srgbClr val="F26B43"/>
          </p15:clr>
        </p15:guide>
        <p15:guide id="3" pos="241">
          <p15:clr>
            <a:srgbClr val="F26B43"/>
          </p15:clr>
        </p15:guide>
        <p15:guide id="4" pos="7439">
          <p15:clr>
            <a:srgbClr val="F26B43"/>
          </p15:clr>
        </p15:guide>
        <p15:guide id="5" pos="2600">
          <p15:clr>
            <a:srgbClr val="F26B43"/>
          </p15:clr>
        </p15:guide>
        <p15:guide id="6" pos="2752">
          <p15:clr>
            <a:srgbClr val="F26B43"/>
          </p15:clr>
        </p15:guide>
        <p15:guide id="7" pos="4928">
          <p15:clr>
            <a:srgbClr val="F26B43"/>
          </p15:clr>
        </p15:guide>
        <p15:guide id="8" pos="50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1341441"/>
            <a:ext cx="12192000" cy="4383163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0" y="332659"/>
            <a:ext cx="12192000" cy="86353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0" y="1341439"/>
            <a:ext cx="12192000" cy="4383162"/>
          </a:xfrm>
          <a:prstGeom prst="rect">
            <a:avLst/>
          </a:prstGeom>
          <a:noFill/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0" name="Rectangle 45"/>
          <p:cNvSpPr>
            <a:spLocks noChangeArrowheads="1"/>
          </p:cNvSpPr>
          <p:nvPr userDrawn="1"/>
        </p:nvSpPr>
        <p:spPr bwMode="auto">
          <a:xfrm>
            <a:off x="2" y="6471352"/>
            <a:ext cx="8208236" cy="26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de-DE" altLang="de-DE" sz="900" baseline="0" dirty="0">
                <a:solidFill>
                  <a:schemeClr val="tx1"/>
                </a:solidFill>
              </a:rPr>
              <a:t>Dr.-Ing. Andrea Staar | 14. Projektetreffen ENERGIEWENDEBAUE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6257227" y="5724601"/>
            <a:ext cx="3563805" cy="972000"/>
            <a:chOff x="4692919" y="5724601"/>
            <a:chExt cx="2672854" cy="972000"/>
          </a:xfrm>
        </p:grpSpPr>
        <p:pic>
          <p:nvPicPr>
            <p:cNvPr id="11" name="Picture 4" descr="C:\Users\tansch\Desktop\Freilichtmuseum\S01_Figurenleiste_breit.jpg">
              <a:extLst>
                <a:ext uri="{FF2B5EF4-FFF2-40B4-BE49-F238E27FC236}">
                  <a16:creationId xmlns:a16="http://schemas.microsoft.com/office/drawing/2014/main" id="{D9CC79B6-3CD5-4D31-A05F-0F8604A7F4B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/>
            <a:srcRect l="81500"/>
            <a:stretch>
              <a:fillRect/>
            </a:stretch>
          </p:blipFill>
          <p:spPr bwMode="auto">
            <a:xfrm>
              <a:off x="6084168" y="5724601"/>
              <a:ext cx="1281605" cy="972000"/>
            </a:xfrm>
            <a:prstGeom prst="rect">
              <a:avLst/>
            </a:prstGeom>
            <a:noFill/>
          </p:spPr>
        </p:pic>
        <p:pic>
          <p:nvPicPr>
            <p:cNvPr id="6" name="Grafik 5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2919" y="5949850"/>
              <a:ext cx="972908" cy="704357"/>
            </a:xfrm>
            <a:prstGeom prst="rect">
              <a:avLst/>
            </a:prstGeom>
          </p:spPr>
        </p:pic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89892BFE-01D6-4546-BA2E-3438E252BDE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033" y="6049395"/>
            <a:ext cx="2118535" cy="505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85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/>
  <p:txStyles>
    <p:titleStyle>
      <a:lvl1pPr algn="l" defTabSz="914296" rtl="0" eaLnBrk="1" latinLnBrk="0" hangingPunct="1">
        <a:spcBef>
          <a:spcPct val="0"/>
        </a:spcBef>
        <a:buNone/>
        <a:defRPr sz="2800" b="1" u="none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296" rtl="0" eaLnBrk="1" latinLnBrk="0" hangingPunct="1">
        <a:spcBef>
          <a:spcPct val="20000"/>
        </a:spcBef>
        <a:buFont typeface="Arial" panose="020B0604020202020204" pitchFamily="34" charset="0"/>
        <a:buNone/>
        <a:defRPr sz="28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296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360000" rtl="0" eaLnBrk="1" latinLnBrk="0" hangingPunct="1">
        <a:spcBef>
          <a:spcPts val="0"/>
        </a:spcBef>
        <a:spcAft>
          <a:spcPts val="300"/>
        </a:spcAft>
        <a:buFontTx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0" indent="0" algn="l" defTabSz="3600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914296" rtl="0" eaLnBrk="1" latinLnBrk="0" hangingPunct="1">
        <a:spcBef>
          <a:spcPts val="0"/>
        </a:spcBef>
        <a:spcAft>
          <a:spcPts val="300"/>
        </a:spcAft>
        <a:buFontTx/>
        <a:buNone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3600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296" rtl="0" eaLnBrk="1" latinLnBrk="0" hangingPunct="1">
        <a:spcBef>
          <a:spcPts val="0"/>
        </a:spcBef>
        <a:spcAft>
          <a:spcPts val="300"/>
        </a:spcAft>
        <a:buFontTx/>
        <a:buNone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8611" indent="-228574" algn="l" defTabSz="9142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9" indent="-228574" algn="l" defTabSz="9142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7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Regieanweisungen"/>
          <p:cNvGrpSpPr/>
          <p:nvPr/>
        </p:nvGrpSpPr>
        <p:grpSpPr>
          <a:xfrm>
            <a:off x="-2253886" y="-468000"/>
            <a:ext cx="17181886" cy="7668001"/>
            <a:chOff x="-1690413" y="-468001"/>
            <a:chExt cx="12886413" cy="7668001"/>
          </a:xfrm>
        </p:grpSpPr>
        <p:sp>
          <p:nvSpPr>
            <p:cNvPr id="11" name="Hilfslinien"/>
            <p:cNvSpPr txBox="1"/>
            <p:nvPr userDrawn="1"/>
          </p:nvSpPr>
          <p:spPr>
            <a:xfrm rot="10800000" flipH="1" flipV="1">
              <a:off x="4571999" y="-468000"/>
              <a:ext cx="42648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4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5" name="Text // Listenebene erhöhen"/>
            <p:cNvSpPr txBox="1"/>
            <p:nvPr userDrawn="1"/>
          </p:nvSpPr>
          <p:spPr>
            <a:xfrm>
              <a:off x="-1516796" y="2871934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6" name="Text // Listenebene verringern"/>
            <p:cNvSpPr txBox="1"/>
            <p:nvPr userDrawn="1"/>
          </p:nvSpPr>
          <p:spPr>
            <a:xfrm>
              <a:off x="-1516796" y="3267934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17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18" name="Bild // Listenebene verringern"/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-544788" y="3267934"/>
              <a:ext cx="385763" cy="238125"/>
            </a:xfrm>
            <a:prstGeom prst="rect">
              <a:avLst/>
            </a:prstGeom>
          </p:spPr>
        </p:pic>
        <p:pic>
          <p:nvPicPr>
            <p:cNvPr id="19" name="Bild // Listenebene erhöhen"/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-544788" y="2871934"/>
              <a:ext cx="385763" cy="238125"/>
            </a:xfrm>
            <a:prstGeom prst="rect">
              <a:avLst/>
            </a:prstGeom>
          </p:spPr>
        </p:pic>
        <p:sp>
          <p:nvSpPr>
            <p:cNvPr id="20" name="Fußzeile"/>
            <p:cNvSpPr txBox="1"/>
            <p:nvPr userDrawn="1"/>
          </p:nvSpPr>
          <p:spPr>
            <a:xfrm rot="10800000" flipH="1" flipV="1">
              <a:off x="304799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1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cxnSp>
        <p:nvCxnSpPr>
          <p:cNvPr id="12" name="Footerlinie"/>
          <p:cNvCxnSpPr/>
          <p:nvPr/>
        </p:nvCxnSpPr>
        <p:spPr>
          <a:xfrm>
            <a:off x="406399" y="6449759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Headerlinie"/>
          <p:cNvCxnSpPr/>
          <p:nvPr/>
        </p:nvCxnSpPr>
        <p:spPr>
          <a:xfrm>
            <a:off x="406400" y="1800000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6402" y="2033591"/>
            <a:ext cx="11377084" cy="42100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spc="40" baseline="0">
                <a:solidFill>
                  <a:schemeClr val="tx1"/>
                </a:solidFill>
                <a:latin typeface="+mj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3778" y="6515213"/>
            <a:ext cx="1899711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2pPr>
            <a:lvl3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3pPr>
            <a:lvl4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4pPr>
            <a:lvl5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5pPr>
            <a:lvl6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6pPr>
            <a:lvl7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7pPr>
            <a:lvl8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8pPr>
            <a:lvl9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9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2" name="Logo HHN">
            <a:extLst>
              <a:ext uri="{FF2B5EF4-FFF2-40B4-BE49-F238E27FC236}">
                <a16:creationId xmlns:a16="http://schemas.microsoft.com/office/drawing/2014/main" id="{A53D8DCE-F532-4BEA-B78C-F0F7C4652FE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977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  <p:sldLayoutId id="2147483997" r:id="rId12"/>
    <p:sldLayoutId id="2147483998" r:id="rId13"/>
  </p:sldLayoutIdLst>
  <p:hf hdr="0"/>
  <p:txStyles>
    <p:titleStyle>
      <a:lvl1pPr marL="0" indent="0" algn="l" defTabSz="914407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3000" b="1" kern="1200" cap="all" spc="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7" rtl="0" eaLnBrk="1" latinLnBrk="0" hangingPunct="1">
        <a:lnSpc>
          <a:spcPct val="105000"/>
        </a:lnSpc>
        <a:spcBef>
          <a:spcPts val="0"/>
        </a:spcBef>
        <a:spcAft>
          <a:spcPts val="1999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2201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8003" indent="-288003" algn="l" defTabSz="914407" rtl="0" eaLnBrk="1" latinLnBrk="0" hangingPunct="1">
        <a:lnSpc>
          <a:spcPct val="105000"/>
        </a:lnSpc>
        <a:spcBef>
          <a:spcPts val="599"/>
        </a:spcBef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2201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88003" indent="0" algn="l" defTabSz="914407" rtl="0" eaLnBrk="1" latinLnBrk="0" hangingPunct="1">
        <a:lnSpc>
          <a:spcPct val="108000"/>
        </a:lnSpc>
        <a:spcBef>
          <a:spcPts val="130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4" indent="-216001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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+mj-lt"/>
        <a:buAutoNum type="arabicPeriod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3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1281">
          <p15:clr>
            <a:srgbClr val="F26B43"/>
          </p15:clr>
        </p15:guide>
        <p15:guide id="4" orient="horz" pos="566">
          <p15:clr>
            <a:srgbClr val="F26B43"/>
          </p15:clr>
        </p15:guide>
        <p15:guide id="5" orient="horz" pos="1110">
          <p15:clr>
            <a:srgbClr val="F26B43"/>
          </p15:clr>
        </p15:guide>
        <p15:guide id="6" orient="horz" pos="3932">
          <p15:clr>
            <a:srgbClr val="F26B43"/>
          </p15:clr>
        </p15:guide>
        <p15:guide id="7" orient="horz" pos="1321">
          <p15:clr>
            <a:srgbClr val="547EBF"/>
          </p15:clr>
        </p15:guide>
        <p15:guide id="8" orient="horz" pos="611">
          <p15:clr>
            <a:srgbClr val="547EB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4683B0D-4532-415B-B2BB-A29166311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0624"/>
            <a:ext cx="5364164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336138-92BE-4DA1-9396-F3D064B1E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0" y="330625"/>
            <a:ext cx="5724524" cy="5185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9E03296-383E-4903-8C7C-5095FCB2E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03400" y="6344444"/>
            <a:ext cx="3932238" cy="2160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E56B4A-0DB5-4139-963F-46347C058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3400" y="6124282"/>
            <a:ext cx="3932238" cy="22724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9827BB-ADB3-4583-B44A-818CC57756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39307" y="6344444"/>
            <a:ext cx="1281217" cy="2160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A13361CF-9A47-4C8C-A01E-566DC0626AC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B0E150F-2DBF-4AFB-AEF1-215069AB2A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124282"/>
            <a:ext cx="997744" cy="368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918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</p:sldLayoutIdLst>
  <p:hf hdr="0"/>
  <p:txStyles>
    <p:titleStyle>
      <a:lvl1pPr algn="l" defTabSz="914400" rtl="0" eaLnBrk="1" latinLnBrk="0" hangingPunct="1">
        <a:lnSpc>
          <a:spcPct val="97000"/>
        </a:lnSpc>
        <a:spcBef>
          <a:spcPts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3840">
          <p15:clr>
            <a:srgbClr val="F26B43"/>
          </p15:clr>
        </p15:guide>
        <p15:guide id="3" pos="2936">
          <p15:clr>
            <a:srgbClr val="F26B43"/>
          </p15:clr>
        </p15:guide>
        <p15:guide id="4" pos="2036">
          <p15:clr>
            <a:srgbClr val="F26B43"/>
          </p15:clr>
        </p15:guide>
        <p15:guide id="5" pos="1136">
          <p15:clr>
            <a:srgbClr val="F26B43"/>
          </p15:clr>
        </p15:guide>
        <p15:guide id="6" pos="234">
          <p15:clr>
            <a:srgbClr val="F26B43"/>
          </p15:clr>
        </p15:guide>
        <p15:guide id="7" pos="4744">
          <p15:clr>
            <a:srgbClr val="F26B43"/>
          </p15:clr>
        </p15:guide>
        <p15:guide id="8" pos="5644">
          <p15:clr>
            <a:srgbClr val="F26B43"/>
          </p15:clr>
        </p15:guide>
        <p15:guide id="9" pos="6544">
          <p15:clr>
            <a:srgbClr val="F26B43"/>
          </p15:clr>
        </p15:guide>
        <p15:guide id="10" pos="7446">
          <p15:clr>
            <a:srgbClr val="F26B43"/>
          </p15:clr>
        </p15:guide>
        <p15:guide id="11" orient="horz" pos="4088">
          <p15:clr>
            <a:srgbClr val="F26B43"/>
          </p15:clr>
        </p15:guide>
        <p15:guide id="12" orient="horz" pos="3858">
          <p15:clr>
            <a:srgbClr val="F26B43"/>
          </p15:clr>
        </p15:guide>
        <p15:guide id="13" orient="horz" pos="3475">
          <p15:clr>
            <a:srgbClr val="F26B43"/>
          </p15:clr>
        </p15:guide>
        <p15:guide id="14" pos="3613">
          <p15:clr>
            <a:srgbClr val="F26B43"/>
          </p15:clr>
        </p15:guide>
        <p15:guide id="15" pos="4067">
          <p15:clr>
            <a:srgbClr val="F26B43"/>
          </p15:clr>
        </p15:guide>
        <p15:guide id="16" orient="horz" pos="120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92375" y="179950"/>
            <a:ext cx="9532650" cy="838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92375" y="1080000"/>
            <a:ext cx="9684000" cy="36000"/>
          </a:xfrm>
          <a:prstGeom prst="rect">
            <a:avLst/>
          </a:prstGeom>
          <a:gradFill rotWithShape="0">
            <a:gsLst>
              <a:gs pos="0">
                <a:srgbClr val="FFB93F"/>
              </a:gs>
              <a:gs pos="100000">
                <a:srgbClr val="89B0C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80" tIns="45641" rIns="91280" bIns="45641" anchor="ctr"/>
          <a:lstStyle/>
          <a:p>
            <a:endParaRPr lang="de-DE" sz="180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0739808" y="1080000"/>
            <a:ext cx="1260000" cy="36000"/>
          </a:xfrm>
          <a:prstGeom prst="rect">
            <a:avLst/>
          </a:prstGeom>
          <a:gradFill rotWithShape="0">
            <a:gsLst>
              <a:gs pos="0">
                <a:srgbClr val="89B0CE"/>
              </a:gs>
              <a:gs pos="100000">
                <a:srgbClr val="0078A4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 dirty="0">
              <a:latin typeface="Arial" charset="0"/>
            </a:endParaRP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962" y="6318000"/>
            <a:ext cx="1273846" cy="3600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3171" y="156981"/>
            <a:ext cx="2375999" cy="11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63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  <p:sldLayoutId id="2147484055" r:id="rId4"/>
    <p:sldLayoutId id="2147484056" r:id="rId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spcAft>
          <a:spcPts val="480"/>
        </a:spcAft>
        <a:buClr>
          <a:schemeClr val="accent1">
            <a:lumMod val="75000"/>
          </a:schemeClr>
        </a:buClr>
        <a:buSzPct val="125000"/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5513ECFF-EDD8-4D1B-96CD-846BFB0937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5459A70-92F1-4D2D-AC28-C3B63B4BF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524CB61-D6C7-4560-96EB-E62E670D3E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9665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C046BF3-35E0-4A33-97D8-7EE7B788559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6EEB23B-EAA4-4D7F-87DD-7A6FB307C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12F0DD3-377C-489B-A525-30B0853735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94451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WB_Powerpoint_Vorlage">
  <a:themeElements>
    <a:clrScheme name="RWTH">
      <a:dk1>
        <a:srgbClr val="000000"/>
      </a:dk1>
      <a:lt1>
        <a:srgbClr val="FFFFFF"/>
      </a:lt1>
      <a:dk2>
        <a:srgbClr val="00549F"/>
      </a:dk2>
      <a:lt2>
        <a:srgbClr val="757070"/>
      </a:lt2>
      <a:accent1>
        <a:srgbClr val="407FB7"/>
      </a:accent1>
      <a:accent2>
        <a:srgbClr val="BDCD00"/>
      </a:accent2>
      <a:accent3>
        <a:srgbClr val="57AB27"/>
      </a:accent3>
      <a:accent4>
        <a:srgbClr val="F6A800"/>
      </a:accent4>
      <a:accent5>
        <a:srgbClr val="FFF055"/>
      </a:accent5>
      <a:accent6>
        <a:srgbClr val="A1103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Start">
  <a:themeElements>
    <a:clrScheme name="infra fuerth">
      <a:dk1>
        <a:srgbClr val="000000"/>
      </a:dk1>
      <a:lt1>
        <a:srgbClr val="FFFFFF"/>
      </a:lt1>
      <a:dk2>
        <a:srgbClr val="808080"/>
      </a:dk2>
      <a:lt2>
        <a:srgbClr val="FFFFFF"/>
      </a:lt2>
      <a:accent1>
        <a:srgbClr val="009678"/>
      </a:accent1>
      <a:accent2>
        <a:srgbClr val="F07D00"/>
      </a:accent2>
      <a:accent3>
        <a:srgbClr val="A0C30F"/>
      </a:accent3>
      <a:accent4>
        <a:srgbClr val="19AFCF"/>
      </a:accent4>
      <a:accent5>
        <a:srgbClr val="A168D5"/>
      </a:accent5>
      <a:accent6>
        <a:srgbClr val="EAAD00"/>
      </a:accent6>
      <a:hlink>
        <a:srgbClr val="009678"/>
      </a:hlink>
      <a:folHlink>
        <a:srgbClr val="009678"/>
      </a:folHlink>
    </a:clrScheme>
    <a:fontScheme name="infra fuerth">
      <a:majorFont>
        <a:latin typeface="Segoe UI"/>
        <a:ea typeface="Microsoft YaHei"/>
        <a:cs typeface="Segoe UI Semibold"/>
      </a:majorFont>
      <a:minorFont>
        <a:latin typeface="Segoe UI Light"/>
        <a:ea typeface="Microsoft YaHei Light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 defTabSz="432000">
          <a:lnSpc>
            <a:spcPct val="120000"/>
          </a:lnSpc>
          <a:spcAft>
            <a:spcPts val="600"/>
          </a:spcAft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 defTabSz="432000">
          <a:lnSpc>
            <a:spcPct val="120000"/>
          </a:lnSpc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Hellgrün">
  <a:themeElements>
    <a:clrScheme name="Benutzerdefiniert 1">
      <a:dk1>
        <a:srgbClr val="000000"/>
      </a:dk1>
      <a:lt1>
        <a:srgbClr val="FFFFFF"/>
      </a:lt1>
      <a:dk2>
        <a:srgbClr val="808080"/>
      </a:dk2>
      <a:lt2>
        <a:srgbClr val="FFFFFF"/>
      </a:lt2>
      <a:accent1>
        <a:srgbClr val="A0C30F"/>
      </a:accent1>
      <a:accent2>
        <a:srgbClr val="F07D00"/>
      </a:accent2>
      <a:accent3>
        <a:srgbClr val="009678"/>
      </a:accent3>
      <a:accent4>
        <a:srgbClr val="19AFCF"/>
      </a:accent4>
      <a:accent5>
        <a:srgbClr val="A168D5"/>
      </a:accent5>
      <a:accent6>
        <a:srgbClr val="EAAD00"/>
      </a:accent6>
      <a:hlink>
        <a:srgbClr val="009678"/>
      </a:hlink>
      <a:folHlink>
        <a:srgbClr val="009678"/>
      </a:folHlink>
    </a:clrScheme>
    <a:fontScheme name="infra fuerth">
      <a:majorFont>
        <a:latin typeface="Segoe UI"/>
        <a:ea typeface="Microsoft YaHei"/>
        <a:cs typeface="Segoe UI Semibold"/>
      </a:majorFont>
      <a:minorFont>
        <a:latin typeface="Segoe UI Light"/>
        <a:ea typeface="Microsoft YaHei Light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 defTabSz="432000">
          <a:lnSpc>
            <a:spcPct val="120000"/>
          </a:lnSpc>
          <a:spcAft>
            <a:spcPts val="600"/>
          </a:spcAft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 defTabSz="432000">
          <a:lnSpc>
            <a:spcPct val="120000"/>
          </a:lnSpc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EWB_Powerpoint_Vorlage">
  <a:themeElements>
    <a:clrScheme name="RWTH">
      <a:dk1>
        <a:srgbClr val="000000"/>
      </a:dk1>
      <a:lt1>
        <a:srgbClr val="FFFFFF"/>
      </a:lt1>
      <a:dk2>
        <a:srgbClr val="00549F"/>
      </a:dk2>
      <a:lt2>
        <a:srgbClr val="757070"/>
      </a:lt2>
      <a:accent1>
        <a:srgbClr val="407FB7"/>
      </a:accent1>
      <a:accent2>
        <a:srgbClr val="BDCD00"/>
      </a:accent2>
      <a:accent3>
        <a:srgbClr val="57AB27"/>
      </a:accent3>
      <a:accent4>
        <a:srgbClr val="F6A800"/>
      </a:accent4>
      <a:accent5>
        <a:srgbClr val="FFF055"/>
      </a:accent5>
      <a:accent6>
        <a:srgbClr val="A1103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kustreffenSanierung22-IBP.potx" id="{6C5B01DD-EE99-4204-BAF6-C4FF3913ED39}" vid="{D3A0E0EE-36D7-4BD5-BA0A-94AFEC873DD3}"/>
    </a:ext>
  </a:extLst>
</a:theme>
</file>

<file path=ppt/theme/theme13.xml><?xml version="1.0" encoding="utf-8"?>
<a:theme xmlns:a="http://schemas.openxmlformats.org/drawingml/2006/main" name="1_EWB_Powerpoint_Vorlage">
  <a:themeElements>
    <a:clrScheme name="Benutzerdefiniert 3">
      <a:dk1>
        <a:srgbClr val="000000"/>
      </a:dk1>
      <a:lt1>
        <a:srgbClr val="FFFFFF"/>
      </a:lt1>
      <a:dk2>
        <a:srgbClr val="00549F"/>
      </a:dk2>
      <a:lt2>
        <a:srgbClr val="757070"/>
      </a:lt2>
      <a:accent1>
        <a:srgbClr val="35872C"/>
      </a:accent1>
      <a:accent2>
        <a:srgbClr val="7AB9D8"/>
      </a:accent2>
      <a:accent3>
        <a:srgbClr val="85AB21"/>
      </a:accent3>
      <a:accent4>
        <a:srgbClr val="F6A800"/>
      </a:accent4>
      <a:accent5>
        <a:srgbClr val="FFF055"/>
      </a:accent5>
      <a:accent6>
        <a:srgbClr val="A11035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Clarity">
      <a:fillStyleLst>
        <a:solidFill>
          <a:schemeClr val="phClr"/>
        </a:solidFill>
        <a:gradFill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/>
        </a:gradFill>
        <a:gradFill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10517_Vorlage_Lehr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UNI_Kassel">
      <a:dk1>
        <a:sysClr val="windowText" lastClr="000000"/>
      </a:dk1>
      <a:lt1>
        <a:sysClr val="window" lastClr="FFFFFF"/>
      </a:lt1>
      <a:dk2>
        <a:srgbClr val="C7105C"/>
      </a:dk2>
      <a:lt2>
        <a:srgbClr val="DADADA"/>
      </a:lt2>
      <a:accent1>
        <a:srgbClr val="9A0C46"/>
      </a:accent1>
      <a:accent2>
        <a:srgbClr val="5095C8"/>
      </a:accent2>
      <a:accent3>
        <a:srgbClr val="4AAC96"/>
      </a:accent3>
      <a:accent4>
        <a:srgbClr val="EAC372"/>
      </a:accent4>
      <a:accent5>
        <a:srgbClr val="153824"/>
      </a:accent5>
      <a:accent6>
        <a:srgbClr val="C4D20F"/>
      </a:accent6>
      <a:hlink>
        <a:srgbClr val="C7105C"/>
      </a:hlink>
      <a:folHlink>
        <a:srgbClr val="9A0C4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B5247267-2B1B-4DBA-9E2D-B52468E22C96}" vid="{B2240CCE-B2E9-440E-9C5B-546C2917101D}"/>
    </a:ext>
  </a:extLst>
</a:theme>
</file>

<file path=ppt/theme/theme1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WB_Powerpoint_Vorlage">
  <a:themeElements>
    <a:clrScheme name="RWTH">
      <a:dk1>
        <a:srgbClr val="000000"/>
      </a:dk1>
      <a:lt1>
        <a:srgbClr val="FFFFFF"/>
      </a:lt1>
      <a:dk2>
        <a:srgbClr val="00549F"/>
      </a:dk2>
      <a:lt2>
        <a:srgbClr val="757070"/>
      </a:lt2>
      <a:accent1>
        <a:srgbClr val="407FB7"/>
      </a:accent1>
      <a:accent2>
        <a:srgbClr val="BDCD00"/>
      </a:accent2>
      <a:accent3>
        <a:srgbClr val="57AB27"/>
      </a:accent3>
      <a:accent4>
        <a:srgbClr val="F6A800"/>
      </a:accent4>
      <a:accent5>
        <a:srgbClr val="FFF055"/>
      </a:accent5>
      <a:accent6>
        <a:srgbClr val="A1103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4" id="{A81471CA-926B-4759-B691-D21878B8AFAE}" vid="{73F4B0F4-5429-4495-8813-B499A23DA814}"/>
    </a:ext>
  </a:extLst>
</a:theme>
</file>

<file path=ppt/theme/theme4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Folienmaster EBC | E.ON ERC - Titel-/Abschlus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rlage_de_16_9" id="{EF029E65-9904-4530-B87F-B6C0ABA2B7BB}" vid="{49DC58DF-0FB6-4EDC-9B59-A301C90599E2}"/>
    </a:ext>
  </a:extLst>
</a:theme>
</file>

<file path=ppt/theme/theme6.xml><?xml version="1.0" encoding="utf-8"?>
<a:theme xmlns:a="http://schemas.openxmlformats.org/drawingml/2006/main" name="KEFeussner Mastervorlag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Fwk 2_0 Vers 3.potx" id="{8B132DF8-0F74-4166-A6EE-E6E0B7AA9396}" vid="{EEC2C3FA-BDB7-4805-9281-2BF13D04BA79}"/>
    </a:ext>
  </a:extLst>
</a:theme>
</file>

<file path=ppt/theme/theme7.xml><?xml version="1.0" encoding="utf-8"?>
<a:theme xmlns:a="http://schemas.openxmlformats.org/drawingml/2006/main" name="PPT_HHN_16x9_DE_02">
  <a:themeElements>
    <a:clrScheme name="Hochschule Heilbronn PPT">
      <a:dk1>
        <a:sysClr val="windowText" lastClr="000000"/>
      </a:dk1>
      <a:lt1>
        <a:sysClr val="window" lastClr="FFFFFF"/>
      </a:lt1>
      <a:dk2>
        <a:srgbClr val="BCBCBC"/>
      </a:dk2>
      <a:lt2>
        <a:srgbClr val="747474"/>
      </a:lt2>
      <a:accent1>
        <a:srgbClr val="002896"/>
      </a:accent1>
      <a:accent2>
        <a:srgbClr val="667EC0"/>
      </a:accent2>
      <a:accent3>
        <a:srgbClr val="99A8D6"/>
      </a:accent3>
      <a:accent4>
        <a:srgbClr val="00727F"/>
      </a:accent4>
      <a:accent5>
        <a:srgbClr val="009BA6"/>
      </a:accent5>
      <a:accent6>
        <a:srgbClr val="7FCBD3"/>
      </a:accent6>
      <a:hlink>
        <a:srgbClr val="000000"/>
      </a:hlink>
      <a:folHlink>
        <a:srgbClr val="000000"/>
      </a:folHlink>
    </a:clrScheme>
    <a:fontScheme name="Hochschule Heilbron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0 | 40 | 150">
      <a:srgbClr val="002896"/>
    </a:custClr>
    <a:custClr name="0 | 159 | 213">
      <a:srgbClr val="009FD5"/>
    </a:custClr>
    <a:custClr name="0 | 114 |127">
      <a:srgbClr val="00727F"/>
    </a:custClr>
    <a:custClr name="255 | 158 | 0">
      <a:srgbClr val="FF9E00"/>
    </a:custClr>
    <a:custClr name="100 | 179 | 44">
      <a:srgbClr val="64B32C"/>
    </a:custClr>
    <a:custClr name="171 | 0 | 66">
      <a:srgbClr val="AB0042"/>
    </a:custClr>
    <a:custClr name="0 | 0 | 0">
      <a:srgbClr val="000000"/>
    </a:custClr>
    <a:custClr>
      <a:srgbClr val="FFFFFF"/>
    </a:custClr>
    <a:custClr name="255 | 255 | 255">
      <a:srgbClr val="FFFFFF"/>
    </a:custClr>
    <a:custClr name="255 | 255 | 255">
      <a:srgbClr val="FFFFFF"/>
    </a:custClr>
    <a:custClr name="102 | 126 | 192">
      <a:srgbClr val="667EC0"/>
    </a:custClr>
    <a:custClr name="96 | 198 | 239">
      <a:srgbClr val="60C6EF"/>
    </a:custClr>
    <a:custClr name="0 | 155 | 166">
      <a:srgbClr val="009BA6"/>
    </a:custClr>
    <a:custClr name="255 | 203 | 14">
      <a:srgbClr val="FFCB0E"/>
    </a:custClr>
    <a:custClr name="180 | 204 | 0">
      <a:srgbClr val="B4CC00"/>
    </a:custClr>
    <a:custClr name="220 | 55 | 105">
      <a:srgbClr val="DC3769"/>
    </a:custClr>
    <a:custClr name="116 | 116 | 116">
      <a:srgbClr val="747474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  <a:custClr name="153 | 168 | 214">
      <a:srgbClr val="99A8D6"/>
    </a:custClr>
    <a:custClr name="176 | 223 | 247">
      <a:srgbClr val="B0DFF7"/>
    </a:custClr>
    <a:custClr name="127 | 203 | 211">
      <a:srgbClr val="7FCBD3"/>
    </a:custClr>
    <a:custClr name="255 | 241 | 77">
      <a:srgbClr val="FFF14D"/>
    </a:custClr>
    <a:custClr name="234 | 228 | 72">
      <a:srgbClr val="EAE448"/>
    </a:custClr>
    <a:custClr name="235 | 142 | 178">
      <a:srgbClr val="EB8EB2"/>
    </a:custClr>
    <a:custClr name="188 | 188 | 188">
      <a:srgbClr val="BCBCBC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</a:custClrLst>
  <a:extLst>
    <a:ext uri="{05A4C25C-085E-4340-85A3-A5531E510DB2}">
      <thm15:themeFamily xmlns:thm15="http://schemas.microsoft.com/office/thememl/2012/main" name="Präsentation8" id="{0F21E387-B582-4D2F-8A48-CC6B64B7AE4B}" vid="{3FF51532-DEED-4DC4-B3A0-61070993AEC6}"/>
    </a:ext>
  </a:extLst>
</a:theme>
</file>

<file path=ppt/theme/theme8.xml><?xml version="1.0" encoding="utf-8"?>
<a:theme xmlns:a="http://schemas.openxmlformats.org/drawingml/2006/main" name="CENERGIE ohne Partnerlogos">
  <a:themeElements>
    <a:clrScheme name="Benutzerdefiniert 1">
      <a:dk1>
        <a:sysClr val="windowText" lastClr="000000"/>
      </a:dk1>
      <a:lt1>
        <a:sysClr val="window" lastClr="FFFFFF"/>
      </a:lt1>
      <a:dk2>
        <a:srgbClr val="6E6E6E"/>
      </a:dk2>
      <a:lt2>
        <a:srgbClr val="F0F0F0"/>
      </a:lt2>
      <a:accent1>
        <a:srgbClr val="FC5555"/>
      </a:accent1>
      <a:accent2>
        <a:srgbClr val="4AD386"/>
      </a:accent2>
      <a:accent3>
        <a:srgbClr val="FFFF00"/>
      </a:accent3>
      <a:accent4>
        <a:srgbClr val="3E46D9"/>
      </a:accent4>
      <a:accent5>
        <a:srgbClr val="6E6E6E"/>
      </a:accent5>
      <a:accent6>
        <a:srgbClr val="C6C6C6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lnSpc>
            <a:spcPct val="97000"/>
          </a:lnSpc>
          <a:defRPr sz="145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lnSpc>
            <a:spcPct val="97000"/>
          </a:lnSpc>
          <a:defRPr sz="145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5" id="{2FC820C1-10E0-4BE3-90C5-E957A7E720C1}" vid="{E93B488A-7864-475E-A8AE-D593C88B06E0}"/>
    </a:ext>
  </a:extLst>
</a:theme>
</file>

<file path=ppt/theme/theme9.xml><?xml version="1.0" encoding="utf-8"?>
<a:theme xmlns:a="http://schemas.openxmlformats.org/drawingml/2006/main" name="190509_ISFH_Folienmaster_16zu9_Seitenzahlen">
  <a:themeElements>
    <a:clrScheme name="120928_ISFH">
      <a:dk1>
        <a:srgbClr val="000000"/>
      </a:dk1>
      <a:lt1>
        <a:srgbClr val="FFFFFF"/>
      </a:lt1>
      <a:dk2>
        <a:srgbClr val="3F739B"/>
      </a:dk2>
      <a:lt2>
        <a:srgbClr val="FFFFFF"/>
      </a:lt2>
      <a:accent1>
        <a:srgbClr val="3F739B"/>
      </a:accent1>
      <a:accent2>
        <a:srgbClr val="FDA023"/>
      </a:accent2>
      <a:accent3>
        <a:srgbClr val="4A7D2C"/>
      </a:accent3>
      <a:accent4>
        <a:srgbClr val="E78B80"/>
      </a:accent4>
      <a:accent5>
        <a:srgbClr val="EB5605"/>
      </a:accent5>
      <a:accent6>
        <a:srgbClr val="B9CA1A"/>
      </a:accent6>
      <a:hlink>
        <a:srgbClr val="3F739B"/>
      </a:hlink>
      <a:folHlink>
        <a:srgbClr val="3F739B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accent1"/>
            </a:solidFill>
            <a:sym typeface="Wingdings" pitchFamily="2" charset="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spAutoFit/>
      </a:bodyPr>
      <a:lstStyle>
        <a:defPPr algn="l">
          <a:defRPr sz="2000" i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90509_ISFH_Folienmaster_16zu9_Seitenzahlen.potx" id="{6415A28A-D417-4798-BA05-BE22EB325F59}" vid="{29EB36E3-F670-4477-98C6-A2244DDAB9D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</Words>
  <Application>Microsoft Office PowerPoint</Application>
  <PresentationFormat>Breitbild</PresentationFormat>
  <Paragraphs>3</Paragraphs>
  <Slides>2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7</vt:i4>
      </vt:variant>
      <vt:variant>
        <vt:lpstr>Folientitel</vt:lpstr>
      </vt:variant>
      <vt:variant>
        <vt:i4>2</vt:i4>
      </vt:variant>
    </vt:vector>
  </HeadingPairs>
  <TitlesOfParts>
    <vt:vector size="26" baseType="lpstr">
      <vt:lpstr>Arial</vt:lpstr>
      <vt:lpstr>Calibri</vt:lpstr>
      <vt:lpstr>Calibri Light</vt:lpstr>
      <vt:lpstr>Segoe UI</vt:lpstr>
      <vt:lpstr>Segoe UI Light</vt:lpstr>
      <vt:lpstr>Symbol</vt:lpstr>
      <vt:lpstr>Wingdings</vt:lpstr>
      <vt:lpstr>EWB_Powerpoint_Vorlage</vt:lpstr>
      <vt:lpstr>EWB_Powerpoint_Vorlage</vt:lpstr>
      <vt:lpstr>Benutzerdefiniertes Design</vt:lpstr>
      <vt:lpstr>1_Benutzerdefiniertes Design</vt:lpstr>
      <vt:lpstr>1_Folienmaster EBC | E.ON ERC - Titel-/Abschlussfolien</vt:lpstr>
      <vt:lpstr>KEFeussner Mastervorlage</vt:lpstr>
      <vt:lpstr>PPT_HHN_16x9_DE_02</vt:lpstr>
      <vt:lpstr>CENERGIE ohne Partnerlogos</vt:lpstr>
      <vt:lpstr>190509_ISFH_Folienmaster_16zu9_Seitenzahlen</vt:lpstr>
      <vt:lpstr>Start</vt:lpstr>
      <vt:lpstr>Hellgrün</vt:lpstr>
      <vt:lpstr>2_EWB_Powerpoint_Vorlage</vt:lpstr>
      <vt:lpstr>1_EWB_Powerpoint_Vorlage</vt:lpstr>
      <vt:lpstr>Larissa</vt:lpstr>
      <vt:lpstr>110517_Vorlage_Lehre</vt:lpstr>
      <vt:lpstr>Office Theme</vt:lpstr>
      <vt:lpstr>Office</vt:lpstr>
      <vt:lpstr>PowerPoint-Präsentation</vt:lpstr>
      <vt:lpstr>PowerPoint-Prä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tfolie mit Titel der PP-Präsentation</dc:title>
  <dc:creator>Lang, Johannes</dc:creator>
  <cp:lastModifiedBy>Michele Bube</cp:lastModifiedBy>
  <cp:revision>5687</cp:revision>
  <cp:lastPrinted>2016-11-23T14:18:28Z</cp:lastPrinted>
  <dcterms:created xsi:type="dcterms:W3CDTF">2016-03-10T13:52:28Z</dcterms:created>
  <dcterms:modified xsi:type="dcterms:W3CDTF">2024-09-02T10:4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1.0.0</vt:lpwstr>
  </property>
  <property fmtid="{D5CDD505-2E9C-101B-9397-08002B2CF9AE}" pid="3" name="Build">
    <vt:lpwstr>001-000-002</vt:lpwstr>
  </property>
  <property fmtid="{D5CDD505-2E9C-101B-9397-08002B2CF9AE}" pid="4" name="Erstellt von">
    <vt:lpwstr>office network</vt:lpwstr>
  </property>
  <property fmtid="{D5CDD505-2E9C-101B-9397-08002B2CF9AE}" pid="5" name="Erstellt am">
    <vt:lpwstr>31.07.2013</vt:lpwstr>
  </property>
  <property fmtid="{D5CDD505-2E9C-101B-9397-08002B2CF9AE}" pid="6" name="Stand">
    <vt:lpwstr>11.09.2013</vt:lpwstr>
  </property>
</Properties>
</file>